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89" r:id="rId5"/>
    <p:sldMasterId id="2147487972" r:id="rId6"/>
    <p:sldMasterId id="2147488017" r:id="rId7"/>
  </p:sldMasterIdLst>
  <p:notesMasterIdLst>
    <p:notesMasterId r:id="rId10"/>
  </p:notesMasterIdLst>
  <p:handoutMasterIdLst>
    <p:handoutMasterId r:id="rId11"/>
  </p:handoutMasterIdLst>
  <p:sldIdLst>
    <p:sldId id="590" r:id="rId8"/>
    <p:sldId id="591" r:id="rId9"/>
  </p:sldIdLst>
  <p:sldSz cx="9144000" cy="5143500" type="screen16x9"/>
  <p:notesSz cx="6819900" cy="99187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439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tanasova, Galina" initials="AG" lastIdx="41" clrIdx="0">
    <p:extLst/>
  </p:cmAuthor>
  <p:cmAuthor id="2" name="Espina, Ana" initials="EA" lastIdx="16" clrIdx="1">
    <p:extLst/>
  </p:cmAuthor>
  <p:cmAuthor id="3" name="Carmen Farre Solsona" initials="CFS" lastIdx="3" clrIdx="2">
    <p:extLst/>
  </p:cmAuthor>
  <p:cmAuthor id="4" name="Twardzik, Renee (GE Power)" initials="TR(P" lastIdx="1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AADC14"/>
    <a:srgbClr val="030F40"/>
    <a:srgbClr val="C55446"/>
    <a:srgbClr val="767C97"/>
    <a:srgbClr val="30C0CD"/>
    <a:srgbClr val="990033"/>
    <a:srgbClr val="3D466C"/>
    <a:srgbClr val="D5D6DE"/>
    <a:srgbClr val="81B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-96" y="-184"/>
      </p:cViewPr>
      <p:guideLst>
        <p:guide orient="horz" pos="1439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interSettings" Target="printerSettings/printerSettings1.bin"/><Relationship Id="rId13" Type="http://schemas.openxmlformats.org/officeDocument/2006/relationships/commentAuthors" Target="commentAuthors.xml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" Target="slides/slide1.xml"/><Relationship Id="rId9" Type="http://schemas.openxmlformats.org/officeDocument/2006/relationships/slide" Target="slides/slide2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2389" y="0"/>
            <a:ext cx="2955925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37458F07-DA06-894E-9198-6C7B42ACAB7A}" type="datetimeFigureOut">
              <a:rPr lang="en-US"/>
              <a:pPr>
                <a:defRPr/>
              </a:pPr>
              <a:t>12/1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1814"/>
            <a:ext cx="2955925" cy="49688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2389" y="9421814"/>
            <a:ext cx="2955925" cy="496886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46D56A6E-E0C7-5C4E-BE39-DAB5C24114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5240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62389" y="1"/>
            <a:ext cx="2955925" cy="4953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28C2D0C8-4008-1E43-B23F-0E08DA09F66A}" type="datetimeFigureOut">
              <a:rPr lang="fr-FR"/>
              <a:pPr>
                <a:defRPr/>
              </a:pPr>
              <a:t>12/1/17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2625" y="4711700"/>
            <a:ext cx="5454650" cy="446246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21814"/>
            <a:ext cx="2955925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62389" y="9421814"/>
            <a:ext cx="2955925" cy="4953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96321B22-8F8D-1544-A413-5B1D209E3B3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25537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939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300" dirty="0">
                <a:latin typeface="Calibri" charset="0"/>
              </a:rPr>
              <a:t>SUEZ Industrial water activities and GE W&amp;PT are integrated into a new Business Unit dedicated to Water Technologies and Solutions. </a:t>
            </a:r>
          </a:p>
          <a:p>
            <a:r>
              <a:rPr lang="en-US" sz="300" dirty="0">
                <a:latin typeface="Calibri" charset="0"/>
              </a:rPr>
              <a:t>This new BU,</a:t>
            </a:r>
            <a:r>
              <a:rPr lang="en-US" sz="300" baseline="0" dirty="0">
                <a:latin typeface="Calibri" charset="0"/>
              </a:rPr>
              <a:t> with a global footprint, </a:t>
            </a:r>
            <a:r>
              <a:rPr lang="en-US" sz="300" dirty="0">
                <a:latin typeface="Calibri" charset="0"/>
              </a:rPr>
              <a:t>brings expertise and innovation in water and process solutions help our customer’s improve economic and environmental performance.</a:t>
            </a:r>
          </a:p>
          <a:p>
            <a:endParaRPr lang="en-US" sz="300" dirty="0">
              <a:latin typeface="Calibri" charset="0"/>
            </a:endParaRPr>
          </a:p>
        </p:txBody>
      </p:sp>
      <p:sp>
        <p:nvSpPr>
          <p:cNvPr id="5939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5122076-361E-3349-BBE1-BAF81BF1DD85}" type="slidenum">
              <a:rPr lang="fr-FR" sz="1200">
                <a:latin typeface="Calibri" charset="0"/>
              </a:rPr>
              <a:pPr/>
              <a:t>1</a:t>
            </a:fld>
            <a:endParaRPr lang="fr-FR" sz="1200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5216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321B22-8F8D-1544-A413-5B1D209E3B3E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67229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pn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9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 bwMode="gray">
          <a:xfrm>
            <a:off x="358777" y="1356123"/>
            <a:ext cx="7921625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4CC4B-F41E-B14E-9FE9-2A737A95D6C2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7703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8101013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9B8610-1385-CC4C-9792-504F7F1DC50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226938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67629-FB27-6444-8733-81B1EBFC6325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094594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4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31091-E673-4046-BA4E-9F2C51F6797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2793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1CFEA2-379F-C84C-ABA4-887C25985964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6359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5" y="1356124"/>
            <a:ext cx="7596187" cy="70246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/>
          </p:nvPr>
        </p:nvSpPr>
        <p:spPr bwMode="gray">
          <a:xfrm>
            <a:off x="684215" y="2058591"/>
            <a:ext cx="7596187" cy="1485000"/>
          </a:xfrm>
        </p:spPr>
        <p:txBody>
          <a:bodyPr tIns="576000" anchor="ctr"/>
          <a:lstStyle>
            <a:lvl1pPr algn="ctr">
              <a:defRPr sz="1500" b="0"/>
            </a:lvl1pPr>
          </a:lstStyle>
          <a:p>
            <a:pPr lvl="0"/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 bwMode="gray">
          <a:xfrm>
            <a:off x="684215" y="3626100"/>
            <a:ext cx="7596187" cy="621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8C30B7-078B-3043-8FE6-4AA6A90FDE56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143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_Fond_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4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30F40"/>
                </a:solidFill>
              </a:defRPr>
            </a:lvl1pPr>
          </a:lstStyle>
          <a:p>
            <a:pPr>
              <a:defRPr/>
            </a:pPr>
            <a:fld id="{FA4D8861-433C-2A4F-B572-ACD9982A688C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9279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_Fond_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4138" y="4603750"/>
            <a:ext cx="1439862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7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8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A49A9-2320-9B46-B120-C738978F0922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4291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 altLang="fr-FR" noProof="0"/>
              <a:t>Modifiez les styles du texte du masque</a:t>
            </a:r>
          </a:p>
          <a:p>
            <a:pPr lvl="1"/>
            <a:r>
              <a:rPr lang="fr-FR" altLang="fr-FR" noProof="0"/>
              <a:t>Deuxième niveau</a:t>
            </a:r>
          </a:p>
          <a:p>
            <a:pPr lvl="2"/>
            <a:r>
              <a:rPr lang="fr-FR" altLang="fr-FR" noProof="0"/>
              <a:t>Troisième niveau</a:t>
            </a:r>
          </a:p>
          <a:p>
            <a:pPr lvl="3"/>
            <a:r>
              <a:rPr lang="fr-FR" altLang="fr-FR" noProof="0"/>
              <a:t>Quatrième niveau</a:t>
            </a:r>
          </a:p>
          <a:p>
            <a:pPr lvl="4"/>
            <a:r>
              <a:rPr lang="fr-FR" altLang="fr-FR" noProof="0"/>
              <a:t>Cinquième niveau</a:t>
            </a:r>
            <a:endParaRPr lang="en-GB" altLang="fr-FR" noProof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D0716C-2E45-1949-B441-9ACB3A677D3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5065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/>
          <p:cNvCxnSpPr/>
          <p:nvPr/>
        </p:nvCxnSpPr>
        <p:spPr>
          <a:xfrm>
            <a:off x="1606550" y="787400"/>
            <a:ext cx="73834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8"/>
          <p:cNvSpPr>
            <a:spLocks noGrp="1"/>
          </p:cNvSpPr>
          <p:nvPr>
            <p:ph type="body" sz="quarter" idx="17"/>
          </p:nvPr>
        </p:nvSpPr>
        <p:spPr>
          <a:xfrm>
            <a:off x="1591192" y="1106267"/>
            <a:ext cx="7334476" cy="25366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Title 6"/>
          <p:cNvSpPr>
            <a:spLocks noGrp="1"/>
          </p:cNvSpPr>
          <p:nvPr>
            <p:ph type="title"/>
          </p:nvPr>
        </p:nvSpPr>
        <p:spPr>
          <a:xfrm>
            <a:off x="1591195" y="213826"/>
            <a:ext cx="7375939" cy="363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algn="l" defTabSz="912787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fr-FR" sz="2600" kern="1200" cap="all" baseline="0">
                <a:solidFill>
                  <a:srgbClr val="ACC22D"/>
                </a:solidFill>
                <a:latin typeface="+mj-lt"/>
                <a:ea typeface="ヒラギノ角ゴ Pro W3" pitchFamily="-1" charset="-128"/>
                <a:cs typeface="ヒラギノ角ゴ Pro W3" pitchFamily="-1" charset="-128"/>
              </a:defRPr>
            </a:lvl1pPr>
          </a:lstStyle>
          <a:p>
            <a:pPr lvl="0"/>
            <a:r>
              <a:rPr lang="fr-FR"/>
              <a:t>Modifiez le style du tit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591194" y="556761"/>
            <a:ext cx="7341919" cy="21175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itchFamily="34" charset="0"/>
              <a:buNone/>
              <a:defRPr sz="1800" b="0">
                <a:solidFill>
                  <a:srgbClr val="1F1F1F"/>
                </a:solidFill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322815" indent="0">
              <a:buNone/>
              <a:defRPr sz="1800">
                <a:solidFill>
                  <a:schemeClr val="tx1"/>
                </a:solidFill>
              </a:defRPr>
            </a:lvl3pPr>
            <a:lvl4pPr marL="549621" indent="0">
              <a:buNone/>
              <a:defRPr sz="1800">
                <a:solidFill>
                  <a:schemeClr val="tx1"/>
                </a:solidFill>
              </a:defRPr>
            </a:lvl4pPr>
            <a:lvl5pPr marL="788949" indent="0"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907607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0" y="4063500"/>
            <a:ext cx="9144000" cy="108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4"/>
          </p:nvPr>
        </p:nvSpPr>
        <p:spPr bwMode="gray">
          <a:xfrm>
            <a:off x="5188137" y="0"/>
            <a:ext cx="3960000" cy="405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7" y="1600200"/>
            <a:ext cx="7921625" cy="67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7" y="2276100"/>
            <a:ext cx="7921625" cy="675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5143500"/>
          </a:xfrm>
          <a:solidFill>
            <a:schemeClr val="accent5"/>
          </a:solidFill>
        </p:spPr>
        <p:txBody>
          <a:bodyPr lIns="1080000" tIns="1188000" rIns="1188000" anchor="ctr"/>
          <a:lstStyle>
            <a:lvl1pPr algn="ctr">
              <a:defRPr sz="1500"/>
            </a:lvl1pPr>
          </a:lstStyle>
          <a:p>
            <a:pPr lvl="0"/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3CB48-5208-0E4D-AF4B-8F8871022D77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674607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/>
          </p:nvPr>
        </p:nvSpPr>
        <p:spPr bwMode="gray">
          <a:xfrm>
            <a:off x="358776" y="1356123"/>
            <a:ext cx="3925438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/>
          </p:nvPr>
        </p:nvSpPr>
        <p:spPr bwMode="gray">
          <a:xfrm>
            <a:off x="4354472" y="1356123"/>
            <a:ext cx="3925930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4ED72-3705-C24A-8717-7B2C9F8A15A2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05768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811348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616CE-9325-1744-AB69-26FB9E323021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28627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9DF7A2-EEFF-B14F-8BF7-661E782F6C54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31932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chapter_BG_green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FD_0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 bwMode="gray">
          <a:xfrm>
            <a:off x="358777" y="2276100"/>
            <a:ext cx="7921625" cy="2239941"/>
          </a:xfrm>
        </p:spPr>
        <p:txBody>
          <a:bodyPr/>
          <a:lstStyle>
            <a:lvl1pPr>
              <a:lnSpc>
                <a:spcPct val="100000"/>
              </a:lnSpc>
              <a:defRPr sz="2400" b="0">
                <a:solidFill>
                  <a:schemeClr val="accent5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4" name="Espace réservé de la dat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Espace réservé du pied de page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6" name="Espace réservé du numéro de diapositive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8F29A-F4BA-D340-A323-138907781F3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110524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Comparaison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Cliquez pour modifier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1800"/>
            </a:lvl3pPr>
            <a:lvl4pPr>
              <a:defRPr sz="1600">
                <a:solidFill>
                  <a:schemeClr val="accent2"/>
                </a:solidFill>
              </a:defRPr>
            </a:lvl4pPr>
            <a:lvl5pPr>
              <a:defRPr sz="1600">
                <a:solidFill>
                  <a:schemeClr val="accent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1800"/>
            </a:lvl3pPr>
            <a:lvl4pPr>
              <a:defRPr sz="1600">
                <a:solidFill>
                  <a:schemeClr val="accent2"/>
                </a:solidFill>
              </a:defRPr>
            </a:lvl4pPr>
            <a:lvl5pPr>
              <a:defRPr sz="1600">
                <a:solidFill>
                  <a:schemeClr val="accent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456414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8" y="1600200"/>
            <a:ext cx="7921625" cy="67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8" y="2276100"/>
            <a:ext cx="7921625" cy="675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D79A86-55AE-FA4F-BB5C-71561208C276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74321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7"/>
          <p:cNvSpPr>
            <a:spLocks noGrp="1"/>
          </p:cNvSpPr>
          <p:nvPr>
            <p:ph type="body" sz="quarter" idx="28"/>
          </p:nvPr>
        </p:nvSpPr>
        <p:spPr bwMode="gray">
          <a:xfrm>
            <a:off x="358709" y="303500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24"/>
          </p:nvPr>
        </p:nvSpPr>
        <p:spPr>
          <a:xfrm>
            <a:off x="539712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3" name="Espace réservé pour une image  4"/>
          <p:cNvSpPr>
            <a:spLocks noGrp="1"/>
          </p:cNvSpPr>
          <p:nvPr>
            <p:ph type="pic" sz="quarter" idx="25"/>
          </p:nvPr>
        </p:nvSpPr>
        <p:spPr>
          <a:xfrm>
            <a:off x="2771907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4" name="Espace réservé pour une image  4"/>
          <p:cNvSpPr>
            <a:spLocks noGrp="1"/>
          </p:cNvSpPr>
          <p:nvPr>
            <p:ph type="pic" sz="quarter" idx="26"/>
          </p:nvPr>
        </p:nvSpPr>
        <p:spPr>
          <a:xfrm>
            <a:off x="5004102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5" name="Espace réservé pour une image  4"/>
          <p:cNvSpPr>
            <a:spLocks noGrp="1"/>
          </p:cNvSpPr>
          <p:nvPr>
            <p:ph type="pic" sz="quarter" idx="27"/>
          </p:nvPr>
        </p:nvSpPr>
        <p:spPr>
          <a:xfrm>
            <a:off x="7236296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41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323529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2" name="Espace réservé du texte 3"/>
          <p:cNvSpPr>
            <a:spLocks noGrp="1"/>
          </p:cNvSpPr>
          <p:nvPr>
            <p:ph type="body" sz="quarter" idx="29"/>
          </p:nvPr>
        </p:nvSpPr>
        <p:spPr bwMode="gray">
          <a:xfrm>
            <a:off x="2555777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3" name="Espace réservé du texte 3"/>
          <p:cNvSpPr>
            <a:spLocks noGrp="1"/>
          </p:cNvSpPr>
          <p:nvPr>
            <p:ph type="body" sz="quarter" idx="30"/>
          </p:nvPr>
        </p:nvSpPr>
        <p:spPr bwMode="gray">
          <a:xfrm>
            <a:off x="4788024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4" name="Espace réservé du texte 3"/>
          <p:cNvSpPr>
            <a:spLocks noGrp="1"/>
          </p:cNvSpPr>
          <p:nvPr>
            <p:ph type="body" sz="quarter" idx="31"/>
          </p:nvPr>
        </p:nvSpPr>
        <p:spPr bwMode="gray">
          <a:xfrm>
            <a:off x="7020273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5" name="Espace réservé du texte 3"/>
          <p:cNvSpPr>
            <a:spLocks noGrp="1"/>
          </p:cNvSpPr>
          <p:nvPr>
            <p:ph type="body" sz="quarter" idx="32"/>
          </p:nvPr>
        </p:nvSpPr>
        <p:spPr bwMode="gray">
          <a:xfrm>
            <a:off x="4788051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6" name="Espace réservé du texte 3"/>
          <p:cNvSpPr>
            <a:spLocks noGrp="1"/>
          </p:cNvSpPr>
          <p:nvPr>
            <p:ph type="body" sz="quarter" idx="33"/>
          </p:nvPr>
        </p:nvSpPr>
        <p:spPr bwMode="gray">
          <a:xfrm>
            <a:off x="7020273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34"/>
          </p:nvPr>
        </p:nvSpPr>
        <p:spPr bwMode="gray">
          <a:xfrm>
            <a:off x="2555829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8" name="Espace réservé du texte 3"/>
          <p:cNvSpPr>
            <a:spLocks noGrp="1"/>
          </p:cNvSpPr>
          <p:nvPr>
            <p:ph type="body" sz="quarter" idx="35"/>
          </p:nvPr>
        </p:nvSpPr>
        <p:spPr bwMode="gray">
          <a:xfrm>
            <a:off x="323609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dt" sz="half" idx="3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8" name="Rectangle 6"/>
          <p:cNvSpPr>
            <a:spLocks noGrp="1" noChangeArrowheads="1"/>
          </p:cNvSpPr>
          <p:nvPr>
            <p:ph type="sldNum" sz="quarter" idx="3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DB7BFE-7FA5-4B40-9017-0B9168F8ABE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09047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/>
          </p:nvPr>
        </p:nvSpPr>
        <p:spPr bwMode="gray">
          <a:xfrm>
            <a:off x="358777" y="1356123"/>
            <a:ext cx="7921625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4E99D-7901-F948-ADBD-9987A04B54B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873195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/>
          </p:nvPr>
        </p:nvSpPr>
        <p:spPr bwMode="gray">
          <a:xfrm>
            <a:off x="358776" y="1356123"/>
            <a:ext cx="3925438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/>
          </p:nvPr>
        </p:nvSpPr>
        <p:spPr bwMode="gray">
          <a:xfrm>
            <a:off x="4354472" y="1356123"/>
            <a:ext cx="3925930" cy="3159919"/>
          </a:xfrm>
        </p:spPr>
        <p:txBody>
          <a:bodyPr/>
          <a:lstStyle>
            <a:lvl1pPr marL="720000" indent="-720000">
              <a:lnSpc>
                <a:spcPct val="100000"/>
              </a:lnSpc>
              <a:spcBef>
                <a:spcPts val="3600"/>
              </a:spcBef>
              <a:spcAft>
                <a:spcPts val="360"/>
              </a:spcAft>
              <a:tabLst>
                <a:tab pos="630000" algn="r"/>
                <a:tab pos="720000" algn="l"/>
              </a:tabLst>
              <a:defRPr sz="1500">
                <a:solidFill>
                  <a:schemeClr val="accent6"/>
                </a:solidFill>
              </a:defRPr>
            </a:lvl1pPr>
            <a:lvl2pPr marL="720000" indent="-720000">
              <a:lnSpc>
                <a:spcPct val="100000"/>
              </a:lnSpc>
              <a:tabLst>
                <a:tab pos="630000" algn="r"/>
                <a:tab pos="720000" algn="l"/>
              </a:tabLst>
              <a:defRPr sz="12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295B40-933D-5E40-A583-D0E1F77DBEB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704650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50C8DE-5C7B-B34B-9107-CFFDA8234BD9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1363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237084-AFC3-5C42-A676-DAF54A1C320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04540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600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/>
          </p:nvPr>
        </p:nvSpPr>
        <p:spPr bwMode="gray">
          <a:xfrm>
            <a:off x="4680400" y="1356123"/>
            <a:ext cx="3600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863B19-FB61-AA42-9242-4884EEC8FBA9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581128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321177" y="1356121"/>
            <a:ext cx="3959225" cy="315992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5BB883-591A-F949-B9C1-2D67AAF6F22C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92587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49BB5B-9E20-9743-BB32-AAD443FB37A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87094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358777" y="928860"/>
            <a:ext cx="8785225" cy="3587182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/>
          </p:nvPr>
        </p:nvSpPr>
        <p:spPr bwMode="gray">
          <a:xfrm>
            <a:off x="1008000" y="1655100"/>
            <a:ext cx="1900276" cy="2147909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bIns="72000" anchor="ctr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380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9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75DFD5-FC56-D540-9012-64076EBDC4F3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524784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3438000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/>
          </p:nvPr>
        </p:nvSpPr>
        <p:spPr bwMode="gray">
          <a:xfrm>
            <a:off x="358775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348325" y="2057400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934C43-52EE-8C48-89D8-BF55DA6FF7E7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00246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58776" y="2057400"/>
            <a:ext cx="579755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768B0-056C-2043-90E6-8D892EA0FE44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103438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8101013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FA6A-B197-FD4B-890E-865DEBE645B7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20624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684213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3492000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/>
          </p:nvPr>
        </p:nvSpPr>
        <p:spPr bwMode="gray">
          <a:xfrm>
            <a:off x="6299788" y="1695600"/>
            <a:ext cx="2160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e la date 9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6" name="Espace réservé du pied de page 10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5E1F8-BB30-D64D-A769-81F5488087B8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88878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accent5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4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7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49FA0C-B2F1-E247-BE50-0A8C428380A0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161106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phiques_Fond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925513"/>
            <a:ext cx="9144000" cy="3590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1368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/>
          <a:lstStyle>
            <a:lvl1pPr algn="ctr"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/>
          </p:nvPr>
        </p:nvSpPr>
        <p:spPr bwMode="gray">
          <a:xfrm>
            <a:off x="5004000" y="1356122"/>
            <a:ext cx="3204000" cy="270000"/>
          </a:xfrm>
        </p:spPr>
        <p:txBody>
          <a:bodyPr tIns="72000"/>
          <a:lstStyle>
            <a:lvl1pPr>
              <a:lnSpc>
                <a:spcPct val="114000"/>
              </a:lnSpc>
              <a:spcBef>
                <a:spcPts val="0"/>
              </a:spcBef>
              <a:defRPr sz="10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e la date 9"/>
          <p:cNvSpPr>
            <a:spLocks noGrp="1"/>
          </p:cNvSpPr>
          <p:nvPr>
            <p:ph type="dt" sz="half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2" name="Espace réservé du pied de page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4" name="Espace réservé du numéro de diapositive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DCDC70-C84C-C24E-AA9C-FAF56A84EC7D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42988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600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/>
          </p:nvPr>
        </p:nvSpPr>
        <p:spPr bwMode="gray">
          <a:xfrm>
            <a:off x="4680400" y="1356123"/>
            <a:ext cx="3600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59925-094B-5F40-895B-3F6AE523EBE8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973863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5" y="1356124"/>
            <a:ext cx="7596187" cy="70246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/>
          </p:nvPr>
        </p:nvSpPr>
        <p:spPr bwMode="gray">
          <a:xfrm>
            <a:off x="684215" y="2058591"/>
            <a:ext cx="7596187" cy="1485000"/>
          </a:xfrm>
        </p:spPr>
        <p:txBody>
          <a:bodyPr tIns="576000" anchor="ctr"/>
          <a:lstStyle>
            <a:lvl1pPr algn="ctr">
              <a:defRPr sz="1500" b="0"/>
            </a:lvl1pPr>
          </a:lstStyle>
          <a:p>
            <a:pPr lvl="0"/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 bwMode="gray">
          <a:xfrm>
            <a:off x="684215" y="3626100"/>
            <a:ext cx="7596187" cy="621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100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4CC069-0B6E-7D4F-A3B7-8762569D3A11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35282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_Fond_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pic>
        <p:nvPicPr>
          <p:cNvPr id="5" name="Imag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4138" y="4603750"/>
            <a:ext cx="1439862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700">
                <a:solidFill>
                  <a:schemeClr val="accent3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e la date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Espace réservé du pied de page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88C8FD-3CD5-A849-A5FC-5D8FB065CA5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  <p:pic>
        <p:nvPicPr>
          <p:cNvPr id="12" name="Image 11" descr="SUEZ_BM_BLUE_BG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2889" y="4731990"/>
            <a:ext cx="1115615" cy="38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7705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/>
          <p:cNvCxnSpPr/>
          <p:nvPr/>
        </p:nvCxnSpPr>
        <p:spPr>
          <a:xfrm>
            <a:off x="1606550" y="787400"/>
            <a:ext cx="7383463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8"/>
          <p:cNvSpPr>
            <a:spLocks noGrp="1"/>
          </p:cNvSpPr>
          <p:nvPr>
            <p:ph type="body" sz="quarter" idx="17"/>
          </p:nvPr>
        </p:nvSpPr>
        <p:spPr>
          <a:xfrm>
            <a:off x="1591192" y="1106267"/>
            <a:ext cx="7334476" cy="25366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Title 6"/>
          <p:cNvSpPr>
            <a:spLocks noGrp="1"/>
          </p:cNvSpPr>
          <p:nvPr>
            <p:ph type="title"/>
          </p:nvPr>
        </p:nvSpPr>
        <p:spPr>
          <a:xfrm>
            <a:off x="1591195" y="213826"/>
            <a:ext cx="7375939" cy="363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algn="l" defTabSz="912787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fr-FR" sz="2600" kern="1200" cap="all" baseline="0">
                <a:solidFill>
                  <a:srgbClr val="ACC22D"/>
                </a:solidFill>
                <a:latin typeface="+mj-lt"/>
                <a:ea typeface="ヒラギノ角ゴ Pro W3" pitchFamily="-1" charset="-128"/>
                <a:cs typeface="ヒラギノ角ゴ Pro W3" pitchFamily="-1" charset="-128"/>
              </a:defRPr>
            </a:lvl1pPr>
          </a:lstStyle>
          <a:p>
            <a:pPr lvl="0"/>
            <a:r>
              <a:rPr lang="fr-FR"/>
              <a:t>Modifiez le style du tit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591194" y="556761"/>
            <a:ext cx="7341919" cy="21175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pitchFamily="34" charset="0"/>
              <a:buNone/>
              <a:defRPr sz="1800" b="0">
                <a:solidFill>
                  <a:srgbClr val="1F1F1F"/>
                </a:solidFill>
              </a:defRPr>
            </a:lvl1pPr>
            <a:lvl2pPr marL="0" indent="0">
              <a:buNone/>
              <a:defRPr sz="1800">
                <a:solidFill>
                  <a:schemeClr val="tx1"/>
                </a:solidFill>
              </a:defRPr>
            </a:lvl2pPr>
            <a:lvl3pPr marL="322815" indent="0">
              <a:buNone/>
              <a:defRPr sz="1800">
                <a:solidFill>
                  <a:schemeClr val="tx1"/>
                </a:solidFill>
              </a:defRPr>
            </a:lvl3pPr>
            <a:lvl4pPr marL="549621" indent="0">
              <a:buNone/>
              <a:defRPr sz="1800">
                <a:solidFill>
                  <a:schemeClr val="tx1"/>
                </a:solidFill>
              </a:defRPr>
            </a:lvl4pPr>
            <a:lvl5pPr marL="788949" indent="0"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52231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0" y="4063500"/>
            <a:ext cx="9144000" cy="108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4"/>
          </p:nvPr>
        </p:nvSpPr>
        <p:spPr bwMode="gray">
          <a:xfrm>
            <a:off x="5188137" y="0"/>
            <a:ext cx="3960000" cy="4050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864"/>
              </a:spcBef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7" y="1600200"/>
            <a:ext cx="7921625" cy="67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7" y="2276100"/>
            <a:ext cx="7921625" cy="675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5143500"/>
          </a:xfrm>
          <a:solidFill>
            <a:schemeClr val="accent5"/>
          </a:solidFill>
        </p:spPr>
        <p:txBody>
          <a:bodyPr lIns="1080000" tIns="1188000" rIns="1188000" anchor="ctr"/>
          <a:lstStyle>
            <a:lvl1pPr algn="ctr">
              <a:defRPr sz="1500"/>
            </a:lvl1pPr>
          </a:lstStyle>
          <a:p>
            <a:pPr lvl="0"/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DC622-34A4-A746-8C98-98EC9E1DF96C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0042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659429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Comparaison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Cliquez pour modifier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1800"/>
            </a:lvl3pPr>
            <a:lvl4pPr>
              <a:defRPr sz="1600">
                <a:solidFill>
                  <a:schemeClr val="accent2"/>
                </a:solidFill>
              </a:defRPr>
            </a:lvl4pPr>
            <a:lvl5pPr>
              <a:defRPr sz="1600">
                <a:solidFill>
                  <a:schemeClr val="accent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1800"/>
            </a:lvl3pPr>
            <a:lvl4pPr>
              <a:defRPr sz="1600">
                <a:solidFill>
                  <a:schemeClr val="accent2"/>
                </a:solidFill>
              </a:defRPr>
            </a:lvl4pPr>
            <a:lvl5pPr>
              <a:defRPr sz="1600">
                <a:solidFill>
                  <a:schemeClr val="accent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561753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/>
              <a:t>Modifiez le style du titre</a:t>
            </a:r>
            <a:endParaRPr lang="en-GB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/>
          </p:nvPr>
        </p:nvSpPr>
        <p:spPr bwMode="gray">
          <a:xfrm>
            <a:off x="358778" y="1600200"/>
            <a:ext cx="7921625" cy="675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1"/>
          </p:nvPr>
        </p:nvSpPr>
        <p:spPr bwMode="gray">
          <a:xfrm>
            <a:off x="358778" y="2276100"/>
            <a:ext cx="7921625" cy="675000"/>
          </a:xfrm>
        </p:spPr>
        <p:txBody>
          <a:bodyPr/>
          <a:lstStyle>
            <a:lvl1pPr>
              <a:spcBef>
                <a:spcPts val="864"/>
              </a:spcBef>
              <a:defRPr sz="1200"/>
            </a:lvl1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B24DCA-B997-4248-A9E4-8CABBB5A686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64431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 altLang="fr-FR" noProof="0"/>
              <a:t>Modifiez les styles du texte du masque</a:t>
            </a:r>
          </a:p>
          <a:p>
            <a:pPr lvl="1"/>
            <a:r>
              <a:rPr lang="fr-FR" altLang="fr-FR" noProof="0"/>
              <a:t>Deuxième niveau</a:t>
            </a:r>
          </a:p>
          <a:p>
            <a:pPr lvl="2"/>
            <a:r>
              <a:rPr lang="fr-FR" altLang="fr-FR" noProof="0"/>
              <a:t>Troisième niveau</a:t>
            </a:r>
          </a:p>
          <a:p>
            <a:pPr lvl="3"/>
            <a:r>
              <a:rPr lang="fr-FR" altLang="fr-FR" noProof="0"/>
              <a:t>Quatrième niveau</a:t>
            </a:r>
          </a:p>
          <a:p>
            <a:pPr lvl="4"/>
            <a:r>
              <a:rPr lang="fr-FR" altLang="fr-FR" noProof="0"/>
              <a:t>Cinquième niveau</a:t>
            </a:r>
            <a:endParaRPr lang="en-GB" altLang="fr-FR" noProof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0"/>
                  </a:srgbClr>
                </a:solidFill>
              </a:defRPr>
            </a:lvl1pPr>
          </a:lstStyle>
          <a:p>
            <a:pPr>
              <a:defRPr/>
            </a:pPr>
            <a:endParaRPr lang="en-GB" altLang="fr-FR" dirty="0"/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030F40"/>
                </a:solidFill>
              </a:defRPr>
            </a:lvl1pPr>
          </a:lstStyle>
          <a:p>
            <a:pPr>
              <a:defRPr/>
            </a:pPr>
            <a:r>
              <a:rPr lang="en-GB" altLang="fr-FR" dirty="0"/>
              <a:t>Asset Care</a:t>
            </a:r>
          </a:p>
        </p:txBody>
      </p:sp>
      <p:sp>
        <p:nvSpPr>
          <p:cNvPr id="10" name="Espace réservé du numéro de diapositive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9FC262-227F-124B-A77D-AA7DE73DA90E}" type="slidenum">
              <a:rPr lang="en-GB"/>
              <a:pPr>
                <a:defRPr/>
              </a:pPr>
              <a:t>‹#›</a:t>
            </a:fld>
            <a:r>
              <a:rPr lang="en-GB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5925666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7"/>
          <p:cNvSpPr>
            <a:spLocks noGrp="1"/>
          </p:cNvSpPr>
          <p:nvPr>
            <p:ph type="body" sz="quarter" idx="28"/>
          </p:nvPr>
        </p:nvSpPr>
        <p:spPr bwMode="gray">
          <a:xfrm>
            <a:off x="358709" y="303500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5" name="Espace réservé pour une image  4"/>
          <p:cNvSpPr>
            <a:spLocks noGrp="1"/>
          </p:cNvSpPr>
          <p:nvPr>
            <p:ph type="pic" sz="quarter" idx="24"/>
          </p:nvPr>
        </p:nvSpPr>
        <p:spPr>
          <a:xfrm>
            <a:off x="539712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3" name="Espace réservé pour une image  4"/>
          <p:cNvSpPr>
            <a:spLocks noGrp="1"/>
          </p:cNvSpPr>
          <p:nvPr>
            <p:ph type="pic" sz="quarter" idx="25"/>
          </p:nvPr>
        </p:nvSpPr>
        <p:spPr>
          <a:xfrm>
            <a:off x="2771907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4" name="Espace réservé pour une image  4"/>
          <p:cNvSpPr>
            <a:spLocks noGrp="1"/>
          </p:cNvSpPr>
          <p:nvPr>
            <p:ph type="pic" sz="quarter" idx="26"/>
          </p:nvPr>
        </p:nvSpPr>
        <p:spPr>
          <a:xfrm>
            <a:off x="5004102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15" name="Espace réservé pour une image  4"/>
          <p:cNvSpPr>
            <a:spLocks noGrp="1"/>
          </p:cNvSpPr>
          <p:nvPr>
            <p:ph type="pic" sz="quarter" idx="27"/>
          </p:nvPr>
        </p:nvSpPr>
        <p:spPr>
          <a:xfrm>
            <a:off x="7236296" y="1059582"/>
            <a:ext cx="1440000" cy="1080000"/>
          </a:xfrm>
          <a:prstGeom prst="ellipse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41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323529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2" name="Espace réservé du texte 3"/>
          <p:cNvSpPr>
            <a:spLocks noGrp="1"/>
          </p:cNvSpPr>
          <p:nvPr>
            <p:ph type="body" sz="quarter" idx="29"/>
          </p:nvPr>
        </p:nvSpPr>
        <p:spPr bwMode="gray">
          <a:xfrm>
            <a:off x="2555777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3" name="Espace réservé du texte 3"/>
          <p:cNvSpPr>
            <a:spLocks noGrp="1"/>
          </p:cNvSpPr>
          <p:nvPr>
            <p:ph type="body" sz="quarter" idx="30"/>
          </p:nvPr>
        </p:nvSpPr>
        <p:spPr bwMode="gray">
          <a:xfrm>
            <a:off x="4788024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4" name="Espace réservé du texte 3"/>
          <p:cNvSpPr>
            <a:spLocks noGrp="1"/>
          </p:cNvSpPr>
          <p:nvPr>
            <p:ph type="body" sz="quarter" idx="31"/>
          </p:nvPr>
        </p:nvSpPr>
        <p:spPr bwMode="gray">
          <a:xfrm>
            <a:off x="7020273" y="3111810"/>
            <a:ext cx="1872208" cy="1242138"/>
          </a:xfr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5" name="Espace réservé du texte 3"/>
          <p:cNvSpPr>
            <a:spLocks noGrp="1"/>
          </p:cNvSpPr>
          <p:nvPr>
            <p:ph type="body" sz="quarter" idx="32"/>
          </p:nvPr>
        </p:nvSpPr>
        <p:spPr bwMode="gray">
          <a:xfrm>
            <a:off x="4788051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6" name="Espace réservé du texte 3"/>
          <p:cNvSpPr>
            <a:spLocks noGrp="1"/>
          </p:cNvSpPr>
          <p:nvPr>
            <p:ph type="body" sz="quarter" idx="33"/>
          </p:nvPr>
        </p:nvSpPr>
        <p:spPr bwMode="gray">
          <a:xfrm>
            <a:off x="7020273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34"/>
          </p:nvPr>
        </p:nvSpPr>
        <p:spPr bwMode="gray">
          <a:xfrm>
            <a:off x="2555829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48" name="Espace réservé du texte 3"/>
          <p:cNvSpPr>
            <a:spLocks noGrp="1"/>
          </p:cNvSpPr>
          <p:nvPr>
            <p:ph type="body" sz="quarter" idx="35"/>
          </p:nvPr>
        </p:nvSpPr>
        <p:spPr bwMode="gray">
          <a:xfrm>
            <a:off x="323609" y="2235491"/>
            <a:ext cx="1872208" cy="432048"/>
          </a:xfrm>
        </p:spPr>
        <p:txBody>
          <a:bodyPr/>
          <a:lstStyle>
            <a:lvl1pPr>
              <a:defRPr sz="1400" b="1"/>
            </a:lvl1pPr>
            <a:lvl2pPr>
              <a:defRPr/>
            </a:lvl2pPr>
          </a:lstStyle>
          <a:p>
            <a:pPr lvl="0"/>
            <a:r>
              <a:rPr lang="fr-FR" altLang="fr-FR" noProof="0"/>
              <a:t>Modifiez les styles du texte du masque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dt" sz="half" idx="3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7" name="Rectangle 5"/>
          <p:cNvSpPr>
            <a:spLocks noGrp="1" noChangeArrowheads="1"/>
          </p:cNvSpPr>
          <p:nvPr>
            <p:ph type="ftr" sz="quarter" idx="3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8" name="Rectangle 6"/>
          <p:cNvSpPr>
            <a:spLocks noGrp="1" noChangeArrowheads="1"/>
          </p:cNvSpPr>
          <p:nvPr>
            <p:ph type="sldNum" sz="quarter" idx="3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219DBE-2D38-FB42-892A-E1C96A85EF1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50614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 altLang="fr-FR" noProof="0"/>
              <a:t>Modifiez les styles du texte du masque</a:t>
            </a:r>
          </a:p>
          <a:p>
            <a:pPr lvl="1"/>
            <a:r>
              <a:rPr lang="fr-FR" altLang="fr-FR" noProof="0"/>
              <a:t>Deuxième niveau</a:t>
            </a:r>
          </a:p>
          <a:p>
            <a:pPr lvl="2"/>
            <a:r>
              <a:rPr lang="fr-FR" altLang="fr-FR" noProof="0"/>
              <a:t>Troisième niveau</a:t>
            </a:r>
          </a:p>
          <a:p>
            <a:pPr lvl="3"/>
            <a:r>
              <a:rPr lang="fr-FR" altLang="fr-FR" noProof="0"/>
              <a:t>Quatrième niveau</a:t>
            </a:r>
          </a:p>
          <a:p>
            <a:pPr lvl="4"/>
            <a:r>
              <a:rPr lang="fr-FR" altLang="fr-FR" noProof="0"/>
              <a:t>Cinquième niveau</a:t>
            </a:r>
            <a:endParaRPr lang="en-GB" altLang="fr-FR" noProof="0"/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 noProof="0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</p:txBody>
      </p:sp>
      <p:sp>
        <p:nvSpPr>
          <p:cNvPr id="6" name="Espace réservé de la date 9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0"/>
                  </a:srgbClr>
                </a:solidFill>
              </a:defRPr>
            </a:lvl1pPr>
          </a:lstStyle>
          <a:p>
            <a:pPr>
              <a:defRPr/>
            </a:pPr>
            <a:endParaRPr lang="en-GB" altLang="fr-FR" dirty="0"/>
          </a:p>
        </p:txBody>
      </p:sp>
      <p:sp>
        <p:nvSpPr>
          <p:cNvPr id="7" name="Espace réservé du pied de page 10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030F40"/>
                </a:solidFill>
              </a:defRPr>
            </a:lvl1pPr>
          </a:lstStyle>
          <a:p>
            <a:pPr>
              <a:defRPr/>
            </a:pPr>
            <a:r>
              <a:rPr lang="en-GB" altLang="fr-FR" dirty="0"/>
              <a:t>Asset Care</a:t>
            </a:r>
          </a:p>
        </p:txBody>
      </p:sp>
      <p:sp>
        <p:nvSpPr>
          <p:cNvPr id="10" name="Espace réservé du numéro de diapositive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05072-E997-1948-9CEF-8639C4B98E89}" type="slidenum">
              <a:rPr lang="en-GB"/>
              <a:pPr>
                <a:defRPr/>
              </a:pPr>
              <a:t>‹#›</a:t>
            </a:fld>
            <a:r>
              <a:rPr lang="en-GB" dirty="0"/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2862866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321177" y="1356121"/>
            <a:ext cx="3959225" cy="315992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0836BA-D95C-D640-8EC3-F8B5B4D38417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48727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776" y="1356123"/>
            <a:ext cx="7921625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56441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775" y="1356123"/>
            <a:ext cx="3925438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54471" y="1356123"/>
            <a:ext cx="3925930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39484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686749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600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80400" y="1356123"/>
            <a:ext cx="3600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2422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321176" y="1356121"/>
            <a:ext cx="3959225" cy="315992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3351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9399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8776" y="928860"/>
            <a:ext cx="8785225" cy="3587182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08000" y="1655100"/>
            <a:ext cx="1900276" cy="2147909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" anchor="ctr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85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425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213230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38000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358775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348325" y="2057400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341215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58775" y="2057400"/>
            <a:ext cx="579755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144067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84213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3492000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 hasCustomPrompt="1"/>
          </p:nvPr>
        </p:nvSpPr>
        <p:spPr bwMode="gray">
          <a:xfrm>
            <a:off x="6299788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4517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texte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/>
          </p:nvPr>
        </p:nvSpPr>
        <p:spPr bwMode="gray">
          <a:xfrm>
            <a:off x="0" y="4266022"/>
            <a:ext cx="3515514" cy="314683"/>
          </a:xfrm>
          <a:solidFill>
            <a:schemeClr val="accent6"/>
          </a:solidFill>
        </p:spPr>
        <p:txBody>
          <a:bodyPr wrap="none" lIns="684000" tIns="72000" rIns="180000" bIns="72000" anchor="b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78B047-3FFF-A64D-B367-1E6A11CDB531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877377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84213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3492000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 hasCustomPrompt="1"/>
          </p:nvPr>
        </p:nvSpPr>
        <p:spPr bwMode="gray">
          <a:xfrm>
            <a:off x="6299788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7919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harts_BG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058150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68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2970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68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5976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4" y="1356122"/>
            <a:ext cx="7596187" cy="70246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 hasCustomPrompt="1"/>
          </p:nvPr>
        </p:nvSpPr>
        <p:spPr bwMode="gray">
          <a:xfrm>
            <a:off x="684214" y="2058591"/>
            <a:ext cx="7596187" cy="1485000"/>
          </a:xfrm>
        </p:spPr>
        <p:txBody>
          <a:bodyPr tIns="576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tabl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4" y="3626100"/>
            <a:ext cx="7596187" cy="621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/>
            </a:lvl1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47022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G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275">
                <a:solidFill>
                  <a:schemeClr val="accent4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fr-FR" dirty="0">
                <a:solidFill>
                  <a:srgbClr val="FFFFFF"/>
                </a:solidFill>
              </a:rPr>
              <a:t>Treatment Solutions North America © 2017 SUEZ</a:t>
            </a: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002F169-18FD-44E9-97D3-E92CE43342A9}" type="slidenum">
              <a:rPr lang="en-GB" altLang="fr-FR" smtClean="0">
                <a:solidFill>
                  <a:srgbClr val="030F40"/>
                </a:solidFill>
              </a:rPr>
              <a:pPr/>
              <a:t>‹#›</a:t>
            </a:fld>
            <a:r>
              <a:rPr lang="en-GB" altLang="fr-FR" dirty="0">
                <a:solidFill>
                  <a:srgbClr val="030F40"/>
                </a:solidFill>
              </a:rPr>
              <a:t> I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4603500"/>
            <a:ext cx="14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51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G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275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fr-FR" dirty="0">
                <a:solidFill>
                  <a:srgbClr val="FFFFFF"/>
                </a:solidFill>
              </a:rPr>
              <a:t>Treatment Solutions North America © 2017 SUEZ</a:t>
            </a: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4603500"/>
            <a:ext cx="14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819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re seul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Cliquez et modifiez le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9185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776" y="1356123"/>
            <a:ext cx="7921625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3" name="Espace réservé du numéro de diapositive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257583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2" name="Espace réservé du texte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8775" y="1356123"/>
            <a:ext cx="3925438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3" name="Espace réservé du texte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54471" y="1356123"/>
            <a:ext cx="3925930" cy="3159919"/>
          </a:xfrm>
        </p:spPr>
        <p:txBody>
          <a:bodyPr/>
          <a:lstStyle>
            <a:lvl1pPr marL="540000" indent="-540000">
              <a:lnSpc>
                <a:spcPct val="100000"/>
              </a:lnSpc>
              <a:spcBef>
                <a:spcPts val="2700"/>
              </a:spcBef>
              <a:spcAft>
                <a:spcPts val="270"/>
              </a:spcAft>
              <a:tabLst>
                <a:tab pos="472500" algn="r"/>
                <a:tab pos="540000" algn="l"/>
              </a:tabLst>
              <a:defRPr sz="1125">
                <a:solidFill>
                  <a:schemeClr val="accent6"/>
                </a:solidFill>
              </a:defRPr>
            </a:lvl1pPr>
            <a:lvl2pPr marL="540000" indent="-540000">
              <a:lnSpc>
                <a:spcPct val="100000"/>
              </a:lnSpc>
              <a:tabLst>
                <a:tab pos="472500" algn="r"/>
                <a:tab pos="540000" algn="l"/>
              </a:tabLst>
              <a:defRPr sz="900"/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29885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gran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9"/>
          </p:nvPr>
        </p:nvSpPr>
        <p:spPr bwMode="gray">
          <a:xfrm>
            <a:off x="358777" y="928860"/>
            <a:ext cx="8785225" cy="3587182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/>
          </p:nvPr>
        </p:nvSpPr>
        <p:spPr bwMode="gray">
          <a:xfrm>
            <a:off x="1008000" y="1655100"/>
            <a:ext cx="1900276" cy="2147909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bIns="72000" anchor="ctr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380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9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F04384-EE35-3F4D-AFE1-78394C91702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71144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170692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600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9" hasCustomPrompt="1"/>
          </p:nvPr>
        </p:nvSpPr>
        <p:spPr bwMode="gray">
          <a:xfrm>
            <a:off x="4680400" y="1356123"/>
            <a:ext cx="3600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35925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321176" y="1356121"/>
            <a:ext cx="3959225" cy="315992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917420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3" y="1356123"/>
            <a:ext cx="3276000" cy="315991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4572000" y="925116"/>
            <a:ext cx="4572000" cy="3590925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1255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58776" y="928860"/>
            <a:ext cx="8785225" cy="3587182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7" name="Espace réservé du texte 1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08000" y="1655100"/>
            <a:ext cx="1900276" cy="2147909"/>
          </a:xfrm>
          <a:custGeom>
            <a:avLst/>
            <a:gdLst>
              <a:gd name="connsiteX0" fmla="*/ 950932 w 1900276"/>
              <a:gd name="connsiteY0" fmla="*/ 13 h 2863878"/>
              <a:gd name="connsiteX1" fmla="*/ 1900257 w 1900276"/>
              <a:gd name="connsiteY1" fmla="*/ 1901837 h 2863878"/>
              <a:gd name="connsiteX2" fmla="*/ 950932 w 1900276"/>
              <a:gd name="connsiteY2" fmla="*/ 2863862 h 2863878"/>
              <a:gd name="connsiteX3" fmla="*/ 20 w 1900276"/>
              <a:gd name="connsiteY3" fmla="*/ 1901837 h 2863878"/>
              <a:gd name="connsiteX4" fmla="*/ 950932 w 1900276"/>
              <a:gd name="connsiteY4" fmla="*/ 13 h 2863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276" h="2863878">
                <a:moveTo>
                  <a:pt x="950932" y="13"/>
                </a:moveTo>
                <a:cubicBezTo>
                  <a:pt x="950932" y="4775"/>
                  <a:pt x="1897082" y="1339862"/>
                  <a:pt x="1900257" y="1901837"/>
                </a:cubicBezTo>
                <a:cubicBezTo>
                  <a:pt x="1903432" y="2401900"/>
                  <a:pt x="1516082" y="2867037"/>
                  <a:pt x="950932" y="2863862"/>
                </a:cubicBezTo>
                <a:cubicBezTo>
                  <a:pt x="382608" y="2860687"/>
                  <a:pt x="-3155" y="2392375"/>
                  <a:pt x="20" y="1901837"/>
                </a:cubicBezTo>
                <a:cubicBezTo>
                  <a:pt x="7958" y="1344625"/>
                  <a:pt x="949345" y="-4750"/>
                  <a:pt x="950932" y="13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bIns="72000" anchor="ctr" anchorCtr="0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2850">
                <a:solidFill>
                  <a:schemeClr val="bg1"/>
                </a:solidFill>
              </a:defRPr>
            </a:lvl1pPr>
            <a:lvl2pPr algn="ctr">
              <a:lnSpc>
                <a:spcPct val="90000"/>
              </a:lnSpc>
              <a:defRPr sz="1425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58901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438000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358775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348325" y="2057400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36638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58775" y="2057400"/>
            <a:ext cx="579755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120428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8101013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84213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3492000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 hasCustomPrompt="1"/>
          </p:nvPr>
        </p:nvSpPr>
        <p:spPr bwMode="gray">
          <a:xfrm>
            <a:off x="6299788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0445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3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684213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84213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92000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3492000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492000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99788" y="3491100"/>
            <a:ext cx="2160000" cy="1026000"/>
          </a:xfrm>
        </p:spPr>
        <p:txBody>
          <a:bodyPr lIns="288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21" name="Espace réservé du graphique 4"/>
          <p:cNvSpPr>
            <a:spLocks noGrp="1"/>
          </p:cNvSpPr>
          <p:nvPr>
            <p:ph type="chart" sz="quarter" idx="26" hasCustomPrompt="1"/>
          </p:nvPr>
        </p:nvSpPr>
        <p:spPr bwMode="gray">
          <a:xfrm>
            <a:off x="6299788" y="1695600"/>
            <a:ext cx="2160000" cy="1782000"/>
          </a:xfrm>
        </p:spPr>
        <p:txBody>
          <a:bodyPr tIns="900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99788" y="1356122"/>
            <a:ext cx="2160000" cy="270000"/>
          </a:xfrm>
        </p:spPr>
        <p:txBody>
          <a:bodyPr lIns="28800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142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harts_BG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8763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/>
          </p:nvPr>
        </p:nvSpPr>
        <p:spPr bwMode="gray">
          <a:xfrm>
            <a:off x="3438000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22"/>
          </p:nvPr>
        </p:nvSpPr>
        <p:spPr bwMode="gray">
          <a:xfrm>
            <a:off x="358775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348325" y="2057400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EA300-82D3-B644-BAE9-7020C539068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86143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68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6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accent5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8767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s_BG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925116"/>
            <a:ext cx="9144000" cy="3590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62271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368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5" name="Espace réservé du graphique 4"/>
          <p:cNvSpPr>
            <a:spLocks noGrp="1"/>
          </p:cNvSpPr>
          <p:nvPr>
            <p:ph type="chart" sz="quarter" idx="21" hasCustomPrompt="1"/>
          </p:nvPr>
        </p:nvSpPr>
        <p:spPr bwMode="gray">
          <a:xfrm>
            <a:off x="936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68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004000" y="3491100"/>
            <a:ext cx="3204000" cy="1026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accent5"/>
                </a:solidFill>
              </a:defRPr>
            </a:lvl1pPr>
            <a:lvl2pPr>
              <a:lnSpc>
                <a:spcPct val="114000"/>
              </a:lnSpc>
              <a:defRPr sz="750" b="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</p:txBody>
      </p:sp>
      <p:sp>
        <p:nvSpPr>
          <p:cNvPr id="18" name="Espace réservé du graphique 4"/>
          <p:cNvSpPr>
            <a:spLocks noGrp="1"/>
          </p:cNvSpPr>
          <p:nvPr>
            <p:ph type="chart" sz="quarter" idx="23" hasCustomPrompt="1"/>
          </p:nvPr>
        </p:nvSpPr>
        <p:spPr bwMode="gray">
          <a:xfrm>
            <a:off x="4572000" y="1674000"/>
            <a:ext cx="3564000" cy="1782000"/>
          </a:xfrm>
        </p:spPr>
        <p:txBody>
          <a:bodyPr tIns="612000" anchor="ctr" anchorCtr="0"/>
          <a:lstStyle>
            <a:lvl1pPr algn="ctr">
              <a:defRPr sz="1125" b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Select the icon to insert a chart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004000" y="1356122"/>
            <a:ext cx="3204000" cy="270000"/>
          </a:xfrm>
        </p:spPr>
        <p:txBody>
          <a:bodyPr lIns="0" tIns="72000"/>
          <a:lstStyle>
            <a:lvl1pPr>
              <a:lnSpc>
                <a:spcPct val="114000"/>
              </a:lnSpc>
              <a:spcBef>
                <a:spcPts val="0"/>
              </a:spcBef>
              <a:defRPr sz="7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6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8007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84214" y="1356122"/>
            <a:ext cx="7596187" cy="702469"/>
          </a:xfrm>
        </p:spPr>
        <p:txBody>
          <a:bodyPr/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275"/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4310649"/>
            <a:ext cx="1096858" cy="270056"/>
          </a:xfrm>
          <a:solidFill>
            <a:schemeClr val="accent6"/>
          </a:solidFill>
        </p:spPr>
        <p:txBody>
          <a:bodyPr wrap="none" lIns="684000" tIns="72000" rIns="180000" bIns="72000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9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/>
            </a:lvl2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altLang="fr-FR" dirty="0">
                <a:solidFill>
                  <a:srgbClr val="030F40"/>
                </a:solidFill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4" name="Espace réservé du tableau 3"/>
          <p:cNvSpPr>
            <a:spLocks noGrp="1"/>
          </p:cNvSpPr>
          <p:nvPr>
            <p:ph type="tbl" sz="quarter" idx="19" hasCustomPrompt="1"/>
          </p:nvPr>
        </p:nvSpPr>
        <p:spPr bwMode="gray">
          <a:xfrm>
            <a:off x="684214" y="2058591"/>
            <a:ext cx="7596187" cy="1485000"/>
          </a:xfrm>
        </p:spPr>
        <p:txBody>
          <a:bodyPr tIns="576000" anchor="ctr" anchorCtr="0"/>
          <a:lstStyle>
            <a:lvl1pPr algn="ctr">
              <a:defRPr sz="1125" b="0"/>
            </a:lvl1pPr>
          </a:lstStyle>
          <a:p>
            <a:r>
              <a:rPr lang="en-GB" noProof="0" dirty="0"/>
              <a:t>Select the icon to insert a tabl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84214" y="3626100"/>
            <a:ext cx="7596187" cy="621000"/>
          </a:xfrm>
        </p:spPr>
        <p:txBody>
          <a:bodyPr/>
          <a:lstStyle>
            <a:lvl1pPr>
              <a:lnSpc>
                <a:spcPct val="114000"/>
              </a:lnSpc>
              <a:spcBef>
                <a:spcPts val="0"/>
              </a:spcBef>
              <a:defRPr sz="750" b="0"/>
            </a:lvl1pPr>
          </a:lstStyle>
          <a:p>
            <a:pPr lvl="0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3505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G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buClr>
                <a:schemeClr val="accent5"/>
              </a:buClr>
              <a:defRPr baseline="0">
                <a:solidFill>
                  <a:schemeClr val="bg1"/>
                </a:solidFill>
              </a:defRPr>
            </a:lvl3pPr>
            <a:lvl4pPr>
              <a:buClr>
                <a:schemeClr val="accent5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accent5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275">
                <a:solidFill>
                  <a:schemeClr val="accent4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fr-FR" dirty="0">
                <a:solidFill>
                  <a:srgbClr val="FFFFFF"/>
                </a:solidFill>
              </a:rPr>
              <a:t>Treatment Solutions North America © 2017 SUEZ</a:t>
            </a: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fld id="{F002F169-18FD-44E9-97D3-E92CE43342A9}" type="slidenum">
              <a:rPr lang="en-GB" altLang="fr-FR" smtClean="0">
                <a:solidFill>
                  <a:srgbClr val="030F40"/>
                </a:solidFill>
              </a:rPr>
              <a:pPr/>
              <a:t>‹#›</a:t>
            </a:fld>
            <a:r>
              <a:rPr lang="en-GB" altLang="fr-FR" dirty="0">
                <a:solidFill>
                  <a:srgbClr val="030F40"/>
                </a:solidFill>
              </a:rPr>
              <a:t> I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4603500"/>
            <a:ext cx="14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37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BG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6" y="302401"/>
            <a:ext cx="7921625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875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defRPr sz="1275">
                <a:solidFill>
                  <a:schemeClr val="accent3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  <a:p>
            <a:pPr lvl="1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GB" altLang="fr-FR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fr-FR" dirty="0">
                <a:solidFill>
                  <a:srgbClr val="FFFFFF"/>
                </a:solidFill>
              </a:rPr>
              <a:t>Treatment Solutions North America © 2017 SUEZ</a:t>
            </a:r>
            <a:endParaRPr lang="en-GB" altLang="fr-FR" dirty="0">
              <a:solidFill>
                <a:srgbClr val="FFFFFF"/>
              </a:solidFill>
            </a:endParaRP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002F169-18FD-44E9-97D3-E92CE43342A9}" type="slidenum">
              <a:rPr lang="en-GB" altLang="fr-FR" smtClean="0">
                <a:solidFill>
                  <a:srgbClr val="AADC14"/>
                </a:solidFill>
              </a:rPr>
              <a:pPr/>
              <a:t>‹#›</a:t>
            </a:fld>
            <a:r>
              <a:rPr lang="en-GB" altLang="fr-FR" dirty="0">
                <a:solidFill>
                  <a:srgbClr val="AADC14"/>
                </a:solidFill>
              </a:rPr>
              <a:t> I</a:t>
            </a:r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000" y="4603500"/>
            <a:ext cx="14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37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re seul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Cliquez et modifiez le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548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 bwMode="gray">
          <a:xfrm>
            <a:off x="358777" y="302402"/>
            <a:ext cx="8101013" cy="1053722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2500">
                <a:solidFill>
                  <a:schemeClr val="accent6"/>
                </a:solidFill>
              </a:defRPr>
            </a:lvl1pPr>
            <a:lvl2pPr>
              <a:lnSpc>
                <a:spcPct val="90000"/>
              </a:lnSpc>
              <a:defRPr sz="1700"/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9"/>
          </p:nvPr>
        </p:nvSpPr>
        <p:spPr bwMode="gray">
          <a:xfrm>
            <a:off x="684213" y="1356122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quarter" idx="21"/>
          </p:nvPr>
        </p:nvSpPr>
        <p:spPr bwMode="gray">
          <a:xfrm>
            <a:off x="6537600" y="1355400"/>
            <a:ext cx="2268000" cy="702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23"/>
          </p:nvPr>
        </p:nvSpPr>
        <p:spPr bwMode="gray">
          <a:xfrm>
            <a:off x="358776" y="2057400"/>
            <a:ext cx="579755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17" name="Espace réservé pour une image  3"/>
          <p:cNvSpPr>
            <a:spLocks noGrp="1"/>
          </p:cNvSpPr>
          <p:nvPr>
            <p:ph type="pic" sz="quarter" idx="24"/>
          </p:nvPr>
        </p:nvSpPr>
        <p:spPr bwMode="gray">
          <a:xfrm>
            <a:off x="6336000" y="2058591"/>
            <a:ext cx="2808000" cy="2457000"/>
          </a:xfrm>
        </p:spPr>
        <p:txBody>
          <a:bodyPr tIns="792000" anchor="ctr"/>
          <a:lstStyle>
            <a:lvl1pPr algn="ctr">
              <a:defRPr sz="1500" b="0"/>
            </a:lvl1pPr>
          </a:lstStyle>
          <a:p>
            <a:pPr lvl="0"/>
            <a:r>
              <a:rPr lang="fr-FR" noProof="0" dirty="0"/>
              <a:t>Cliquez sur l'icône pour ajouter une imag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2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103A45-9A56-8444-9D29-E1C09B958CCE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9316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49.xml"/><Relationship Id="rId24" Type="http://schemas.openxmlformats.org/officeDocument/2006/relationships/theme" Target="../theme/theme2.xml"/><Relationship Id="rId10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8.xml"/><Relationship Id="rId20" Type="http://schemas.openxmlformats.org/officeDocument/2006/relationships/vmlDrawing" Target="../drawings/vmlDrawing1.vml"/><Relationship Id="rId21" Type="http://schemas.openxmlformats.org/officeDocument/2006/relationships/tags" Target="../tags/tag1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6.emf"/><Relationship Id="rId24" Type="http://schemas.openxmlformats.org/officeDocument/2006/relationships/image" Target="../media/image7.emf"/><Relationship Id="rId10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67.xml"/><Relationship Id="rId19" Type="http://schemas.openxmlformats.org/officeDocument/2006/relationships/theme" Target="../theme/theme3.xml"/><Relationship Id="rId1" Type="http://schemas.openxmlformats.org/officeDocument/2006/relationships/slideLayout" Target="../slideLayouts/slideLayout50.xml"/><Relationship Id="rId2" Type="http://schemas.openxmlformats.org/officeDocument/2006/relationships/slideLayout" Target="../slideLayouts/slideLayout51.xml"/><Relationship Id="rId3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6.xml"/><Relationship Id="rId8" Type="http://schemas.openxmlformats.org/officeDocument/2006/relationships/slideLayout" Target="../slideLayouts/slideLayout57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20" Type="http://schemas.openxmlformats.org/officeDocument/2006/relationships/vmlDrawing" Target="../drawings/vmlDrawing2.vml"/><Relationship Id="rId21" Type="http://schemas.openxmlformats.org/officeDocument/2006/relationships/tags" Target="../tags/tag2.xml"/><Relationship Id="rId22" Type="http://schemas.openxmlformats.org/officeDocument/2006/relationships/oleObject" Target="../embeddings/oleObject2.bin"/><Relationship Id="rId23" Type="http://schemas.openxmlformats.org/officeDocument/2006/relationships/image" Target="../media/image6.emf"/><Relationship Id="rId24" Type="http://schemas.openxmlformats.org/officeDocument/2006/relationships/image" Target="../media/image7.emf"/><Relationship Id="rId10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5.xml"/><Relationship Id="rId19" Type="http://schemas.openxmlformats.org/officeDocument/2006/relationships/theme" Target="../theme/theme4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4.xml"/><Relationship Id="rId8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303213"/>
            <a:ext cx="7921625" cy="1052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355725"/>
            <a:ext cx="7596187" cy="316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0" y="5002213"/>
            <a:ext cx="6842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>
                    <a:alpha val="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3" y="4786313"/>
            <a:ext cx="6696075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accent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4786313"/>
            <a:ext cx="684213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AADC14"/>
                </a:solidFill>
                <a:cs typeface="Arial" charset="0"/>
              </a:defRPr>
            </a:lvl1pPr>
          </a:lstStyle>
          <a:p>
            <a:pPr>
              <a:defRPr/>
            </a:pPr>
            <a:fld id="{AC4423E2-007B-634B-8FC1-3A82EFEA8229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866" r:id="rId1"/>
    <p:sldLayoutId id="2147487867" r:id="rId2"/>
    <p:sldLayoutId id="2147487868" r:id="rId3"/>
    <p:sldLayoutId id="2147487869" r:id="rId4"/>
    <p:sldLayoutId id="2147487870" r:id="rId5"/>
    <p:sldLayoutId id="2147487871" r:id="rId6"/>
    <p:sldLayoutId id="2147487872" r:id="rId7"/>
    <p:sldLayoutId id="2147487873" r:id="rId8"/>
    <p:sldLayoutId id="2147487874" r:id="rId9"/>
    <p:sldLayoutId id="2147487896" r:id="rId10"/>
    <p:sldLayoutId id="2147487897" r:id="rId11"/>
    <p:sldLayoutId id="2147487898" r:id="rId12"/>
    <p:sldLayoutId id="2147487899" r:id="rId13"/>
    <p:sldLayoutId id="2147487875" r:id="rId14"/>
    <p:sldLayoutId id="2147487900" r:id="rId15"/>
    <p:sldLayoutId id="2147487901" r:id="rId16"/>
    <p:sldLayoutId id="2147487876" r:id="rId17"/>
    <p:sldLayoutId id="2147487902" r:id="rId18"/>
    <p:sldLayoutId id="2147487877" r:id="rId19"/>
    <p:sldLayoutId id="2147487903" r:id="rId20"/>
    <p:sldLayoutId id="2147487904" r:id="rId21"/>
    <p:sldLayoutId id="2147487878" r:id="rId22"/>
    <p:sldLayoutId id="2147487905" r:id="rId23"/>
    <p:sldLayoutId id="2147487906" r:id="rId24"/>
    <p:sldLayoutId id="2147487879" r:id="rId25"/>
    <p:sldLayoutId id="2147487880" r:id="rId26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1258888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>
          <a:solidFill>
            <a:srgbClr val="030F40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1258888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rgbClr val="030F40"/>
          </a:solidFill>
          <a:latin typeface="+mn-lt"/>
          <a:ea typeface="ＭＳ Ｐゴシック" charset="0"/>
          <a:cs typeface="+mn-cs"/>
        </a:defRPr>
      </a:lvl2pPr>
      <a:lvl3pPr marL="215900" indent="-21590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charset="0"/>
        <a:buChar char=""/>
        <a:defRPr sz="1200">
          <a:solidFill>
            <a:srgbClr val="030F40"/>
          </a:solidFill>
          <a:latin typeface="+mn-lt"/>
          <a:ea typeface="ＭＳ Ｐゴシック" charset="0"/>
          <a:cs typeface="+mn-cs"/>
        </a:defRPr>
      </a:lvl3pPr>
      <a:lvl4pPr marL="215900" indent="-19685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charset="0"/>
        <a:buChar char=""/>
        <a:defRPr sz="1000">
          <a:solidFill>
            <a:srgbClr val="030F40"/>
          </a:solidFill>
          <a:latin typeface="+mn-lt"/>
          <a:ea typeface="ＭＳ Ｐゴシック" charset="0"/>
          <a:cs typeface="+mn-cs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rgbClr val="AADC14"/>
        </a:buClr>
        <a:buFont typeface="Wingdings" charset="0"/>
        <a:buChar char="l"/>
        <a:defRPr sz="1000">
          <a:solidFill>
            <a:srgbClr val="030F40"/>
          </a:solidFill>
          <a:latin typeface="+mn-lt"/>
          <a:ea typeface="ＭＳ Ｐゴシック" charset="0"/>
          <a:cs typeface="+mn-cs"/>
        </a:defRPr>
      </a:lvl5pPr>
      <a:lvl6pPr marL="36925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41497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46069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50641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303213"/>
            <a:ext cx="7921625" cy="1052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 style du titre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355725"/>
            <a:ext cx="7596187" cy="316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0" y="5002213"/>
            <a:ext cx="684213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">
                <a:solidFill>
                  <a:schemeClr val="bg1">
                    <a:alpha val="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3" y="4786313"/>
            <a:ext cx="6696075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accent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fr-FR" dirty="0"/>
              <a:t>Asset Car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4786313"/>
            <a:ext cx="684213" cy="35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solidFill>
                  <a:srgbClr val="AADC14"/>
                </a:solidFill>
                <a:cs typeface="Arial" charset="0"/>
              </a:defRPr>
            </a:lvl1pPr>
          </a:lstStyle>
          <a:p>
            <a:pPr>
              <a:defRPr/>
            </a:pPr>
            <a:fld id="{59F79986-F036-654D-9F43-6C84759C27E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881" r:id="rId1"/>
    <p:sldLayoutId id="2147487882" r:id="rId2"/>
    <p:sldLayoutId id="2147487883" r:id="rId3"/>
    <p:sldLayoutId id="2147487884" r:id="rId4"/>
    <p:sldLayoutId id="2147487885" r:id="rId5"/>
    <p:sldLayoutId id="2147487886" r:id="rId6"/>
    <p:sldLayoutId id="2147487887" r:id="rId7"/>
    <p:sldLayoutId id="2147487888" r:id="rId8"/>
    <p:sldLayoutId id="2147487889" r:id="rId9"/>
    <p:sldLayoutId id="2147487908" r:id="rId10"/>
    <p:sldLayoutId id="2147487909" r:id="rId11"/>
    <p:sldLayoutId id="2147487910" r:id="rId12"/>
    <p:sldLayoutId id="2147487911" r:id="rId13"/>
    <p:sldLayoutId id="2147487890" r:id="rId14"/>
    <p:sldLayoutId id="2147487913" r:id="rId15"/>
    <p:sldLayoutId id="2147487914" r:id="rId16"/>
    <p:sldLayoutId id="2147487892" r:id="rId17"/>
    <p:sldLayoutId id="2147487915" r:id="rId18"/>
    <p:sldLayoutId id="2147487916" r:id="rId19"/>
    <p:sldLayoutId id="2147487894" r:id="rId20"/>
    <p:sldLayoutId id="2147487917" r:id="rId21"/>
    <p:sldLayoutId id="2147487895" r:id="rId22"/>
    <p:sldLayoutId id="2147487918" r:id="rId23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AADC14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1258888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>
          <a:solidFill>
            <a:srgbClr val="030F40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1258888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rgbClr val="030F40"/>
          </a:solidFill>
          <a:latin typeface="+mn-lt"/>
          <a:ea typeface="ＭＳ Ｐゴシック" charset="0"/>
          <a:cs typeface="+mn-cs"/>
        </a:defRPr>
      </a:lvl2pPr>
      <a:lvl3pPr marL="215900" indent="-21590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charset="0"/>
        <a:buChar char=""/>
        <a:defRPr sz="1200">
          <a:solidFill>
            <a:srgbClr val="030F40"/>
          </a:solidFill>
          <a:latin typeface="+mn-lt"/>
          <a:ea typeface="ＭＳ Ｐゴシック" charset="0"/>
          <a:cs typeface="+mn-cs"/>
        </a:defRPr>
      </a:lvl3pPr>
      <a:lvl4pPr marL="215900" indent="-196850" algn="l" defTabSz="1258888" rtl="0" eaLnBrk="0" fontAlgn="base" hangingPunct="0">
        <a:spcBef>
          <a:spcPct val="30000"/>
        </a:spcBef>
        <a:spcAft>
          <a:spcPct val="30000"/>
        </a:spcAft>
        <a:buClr>
          <a:srgbClr val="AADC14"/>
        </a:buClr>
        <a:buSzPct val="150000"/>
        <a:buFont typeface="Wingdings" charset="0"/>
        <a:buChar char=""/>
        <a:defRPr sz="1000">
          <a:solidFill>
            <a:srgbClr val="030F40"/>
          </a:solidFill>
          <a:latin typeface="+mn-lt"/>
          <a:ea typeface="ＭＳ Ｐゴシック" charset="0"/>
          <a:cs typeface="+mn-cs"/>
        </a:defRPr>
      </a:lvl4pPr>
      <a:lvl5pPr marL="431800" indent="-215900" algn="l" defTabSz="1258888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rgbClr val="AADC14"/>
        </a:buClr>
        <a:buFont typeface="Wingdings" charset="0"/>
        <a:buChar char="l"/>
        <a:defRPr sz="1000">
          <a:solidFill>
            <a:srgbClr val="030F40"/>
          </a:solidFill>
          <a:latin typeface="+mn-lt"/>
          <a:ea typeface="ＭＳ Ｐゴシック" charset="0"/>
          <a:cs typeface="+mn-cs"/>
        </a:defRPr>
      </a:lvl5pPr>
      <a:lvl6pPr marL="36925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6pPr>
      <a:lvl7pPr marL="41497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7pPr>
      <a:lvl8pPr marL="46069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8pPr>
      <a:lvl9pPr marL="5064125" indent="-182563" algn="l" defTabSz="1258888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1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8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303610"/>
            <a:ext cx="7921625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/>
              <a:t>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4" y="1356123"/>
            <a:ext cx="7596187" cy="3159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1" y="5001816"/>
            <a:ext cx="684213" cy="141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eaLnBrk="1" hangingPunct="1"/>
            <a:endParaRPr lang="en-GB" altLang="fr-FR" dirty="0">
              <a:solidFill>
                <a:srgbClr val="FFFFFF">
                  <a:alpha val="0"/>
                </a:srgbClr>
              </a:solidFill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4" y="4786313"/>
            <a:ext cx="6696075" cy="35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chemeClr val="accent5"/>
                </a:solidFill>
              </a:defRPr>
            </a:lvl1pPr>
          </a:lstStyle>
          <a:p>
            <a:pPr eaLnBrk="1" hangingPunct="1"/>
            <a:r>
              <a:rPr lang="en-US" altLang="fr-FR" dirty="0">
                <a:solidFill>
                  <a:srgbClr val="030F40"/>
                </a:solidFill>
                <a:latin typeface="Arial"/>
                <a:ea typeface="+mn-ea"/>
                <a:cs typeface="Arial" pitchFamily="34" charset="0"/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" y="4786313"/>
            <a:ext cx="684213" cy="35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chemeClr val="accent6"/>
                </a:solidFill>
              </a:defRPr>
            </a:lvl1pPr>
          </a:lstStyle>
          <a:p>
            <a:pPr eaLnBrk="1" hangingPunct="1"/>
            <a:fld id="{F002F169-18FD-44E9-97D3-E92CE43342A9}" type="slidenum">
              <a:rPr lang="en-GB" altLang="fr-FR" smtClean="0">
                <a:solidFill>
                  <a:srgbClr val="AADC14"/>
                </a:solidFill>
                <a:latin typeface="Arial"/>
                <a:ea typeface="+mn-ea"/>
                <a:cs typeface="Arial" pitchFamily="34" charset="0"/>
              </a:rPr>
              <a:pPr eaLnBrk="1" hangingPunct="1"/>
              <a:t>‹#›</a:t>
            </a:fld>
            <a:r>
              <a:rPr lang="en-GB" altLang="fr-FR" dirty="0">
                <a:solidFill>
                  <a:srgbClr val="AADC14"/>
                </a:solidFill>
                <a:latin typeface="Arial"/>
                <a:ea typeface="+mn-ea"/>
                <a:cs typeface="Arial" pitchFamily="34" charset="0"/>
              </a:rPr>
              <a:t> I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128" y="4799343"/>
            <a:ext cx="1083554" cy="20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223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73" r:id="rId1"/>
    <p:sldLayoutId id="2147487974" r:id="rId2"/>
    <p:sldLayoutId id="2147487975" r:id="rId3"/>
    <p:sldLayoutId id="2147487976" r:id="rId4"/>
    <p:sldLayoutId id="2147487977" r:id="rId5"/>
    <p:sldLayoutId id="2147487978" r:id="rId6"/>
    <p:sldLayoutId id="2147487979" r:id="rId7"/>
    <p:sldLayoutId id="2147487980" r:id="rId8"/>
    <p:sldLayoutId id="2147487981" r:id="rId9"/>
    <p:sldLayoutId id="2147487982" r:id="rId10"/>
    <p:sldLayoutId id="2147487983" r:id="rId11"/>
    <p:sldLayoutId id="2147487984" r:id="rId12"/>
    <p:sldLayoutId id="2147487985" r:id="rId13"/>
    <p:sldLayoutId id="2147487986" r:id="rId14"/>
    <p:sldLayoutId id="2147487987" r:id="rId15"/>
    <p:sldLayoutId id="2147487988" r:id="rId16"/>
    <p:sldLayoutId id="2147487989" r:id="rId17"/>
    <p:sldLayoutId id="214748799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accent6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944166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 baseline="0">
          <a:solidFill>
            <a:schemeClr val="accent5"/>
          </a:solidFill>
          <a:latin typeface="+mn-lt"/>
          <a:ea typeface="+mn-ea"/>
          <a:cs typeface="+mn-cs"/>
        </a:defRPr>
      </a:lvl1pPr>
      <a:lvl2pPr algn="l" defTabSz="944166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125" baseline="0">
          <a:solidFill>
            <a:schemeClr val="accent5"/>
          </a:solidFill>
          <a:latin typeface="+mn-lt"/>
          <a:cs typeface="+mn-cs"/>
        </a:defRPr>
      </a:lvl2pPr>
      <a:lvl3pPr marL="161925" indent="-161925" algn="l" defTabSz="944166" rtl="0" eaLnBrk="0" fontAlgn="base" hangingPunct="0">
        <a:spcBef>
          <a:spcPct val="30000"/>
        </a:spcBef>
        <a:spcAft>
          <a:spcPct val="30000"/>
        </a:spcAft>
        <a:buClr>
          <a:schemeClr val="accent6"/>
        </a:buClr>
        <a:buSzPct val="150000"/>
        <a:buFont typeface="Wingdings" pitchFamily="2" charset="2"/>
        <a:buChar char=""/>
        <a:defRPr sz="900" baseline="0">
          <a:solidFill>
            <a:schemeClr val="accent5"/>
          </a:solidFill>
          <a:latin typeface="+mn-lt"/>
          <a:cs typeface="+mn-cs"/>
        </a:defRPr>
      </a:lvl3pPr>
      <a:lvl4pPr marL="161925" indent="-147638" algn="l" defTabSz="944166" rtl="0" eaLnBrk="0" fontAlgn="base" hangingPunct="0">
        <a:spcBef>
          <a:spcPct val="30000"/>
        </a:spcBef>
        <a:spcAft>
          <a:spcPct val="30000"/>
        </a:spcAft>
        <a:buClr>
          <a:schemeClr val="accent6"/>
        </a:buClr>
        <a:buSzPct val="150000"/>
        <a:buFont typeface="Wingdings" pitchFamily="2" charset="2"/>
        <a:buChar char=""/>
        <a:defRPr sz="750" baseline="0">
          <a:solidFill>
            <a:schemeClr val="accent5"/>
          </a:solidFill>
          <a:latin typeface="+mn-lt"/>
          <a:cs typeface="+mn-cs"/>
        </a:defRPr>
      </a:lvl4pPr>
      <a:lvl5pPr marL="323850" indent="-161925" algn="l" defTabSz="944166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750" baseline="0">
          <a:solidFill>
            <a:schemeClr val="accent5"/>
          </a:solidFill>
          <a:latin typeface="+mn-lt"/>
          <a:cs typeface="+mn-cs"/>
        </a:defRPr>
      </a:lvl5pPr>
      <a:lvl6pPr marL="27693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6pPr>
      <a:lvl7pPr marL="31122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7pPr>
      <a:lvl8pPr marL="34551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8pPr>
      <a:lvl9pPr marL="37980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4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8775" y="303610"/>
            <a:ext cx="7921625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/>
              <a:t>Tit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4" y="1356123"/>
            <a:ext cx="7596187" cy="3159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 noProof="0"/>
              <a:t>Text level 1</a:t>
            </a:r>
          </a:p>
          <a:p>
            <a:pPr lvl="1"/>
            <a:r>
              <a:rPr lang="en-GB" altLang="fr-FR" noProof="0"/>
              <a:t>Text level 2</a:t>
            </a:r>
          </a:p>
          <a:p>
            <a:pPr lvl="2"/>
            <a:r>
              <a:rPr lang="en-GB" altLang="fr-FR" noProof="0"/>
              <a:t>Text level 3</a:t>
            </a:r>
          </a:p>
          <a:p>
            <a:pPr lvl="3"/>
            <a:r>
              <a:rPr lang="en-GB" altLang="fr-FR" noProof="0"/>
              <a:t>Text level 4</a:t>
            </a:r>
          </a:p>
          <a:p>
            <a:pPr lvl="4"/>
            <a:r>
              <a:rPr lang="en-GB" altLang="fr-FR" noProof="0"/>
              <a:t>Text level 5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1" y="5001816"/>
            <a:ext cx="684213" cy="141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eaLnBrk="1" hangingPunct="1"/>
            <a:endParaRPr lang="en-GB" altLang="fr-FR" dirty="0">
              <a:solidFill>
                <a:srgbClr val="FFFFFF">
                  <a:alpha val="0"/>
                </a:srgbClr>
              </a:solidFill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84214" y="4786313"/>
            <a:ext cx="6696075" cy="35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chemeClr val="accent5"/>
                </a:solidFill>
              </a:defRPr>
            </a:lvl1pPr>
          </a:lstStyle>
          <a:p>
            <a:pPr eaLnBrk="1" hangingPunct="1"/>
            <a:r>
              <a:rPr lang="en-US" altLang="fr-FR" dirty="0">
                <a:solidFill>
                  <a:srgbClr val="030F40"/>
                </a:solidFill>
                <a:latin typeface="Arial"/>
                <a:ea typeface="+mn-ea"/>
                <a:cs typeface="Arial" pitchFamily="34" charset="0"/>
              </a:rPr>
              <a:t>Treatment Solutions North America © 2017 SUEZ</a:t>
            </a:r>
            <a:endParaRPr lang="en-GB" altLang="fr-FR" dirty="0">
              <a:solidFill>
                <a:srgbClr val="030F40"/>
              </a:solidFill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" y="4786313"/>
            <a:ext cx="684213" cy="35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54000" bIns="0" numCol="1" anchor="t" anchorCtr="0" compatLnSpc="1">
            <a:prstTxWarp prst="textNoShape">
              <a:avLst/>
            </a:prstTxWarp>
          </a:bodyPr>
          <a:lstStyle>
            <a:lvl1pPr algn="r">
              <a:defRPr sz="750" b="1">
                <a:solidFill>
                  <a:schemeClr val="accent6"/>
                </a:solidFill>
              </a:defRPr>
            </a:lvl1pPr>
          </a:lstStyle>
          <a:p>
            <a:pPr eaLnBrk="1" hangingPunct="1"/>
            <a:fld id="{F002F169-18FD-44E9-97D3-E92CE43342A9}" type="slidenum">
              <a:rPr lang="en-GB" altLang="fr-FR" smtClean="0">
                <a:solidFill>
                  <a:srgbClr val="AADC14"/>
                </a:solidFill>
                <a:latin typeface="Arial"/>
                <a:ea typeface="+mn-ea"/>
                <a:cs typeface="Arial" pitchFamily="34" charset="0"/>
              </a:rPr>
              <a:pPr eaLnBrk="1" hangingPunct="1"/>
              <a:t>‹#›</a:t>
            </a:fld>
            <a:r>
              <a:rPr lang="en-GB" altLang="fr-FR" dirty="0">
                <a:solidFill>
                  <a:srgbClr val="AADC14"/>
                </a:solidFill>
                <a:latin typeface="Arial"/>
                <a:ea typeface="+mn-ea"/>
                <a:cs typeface="Arial" pitchFamily="34" charset="0"/>
              </a:rPr>
              <a:t> I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2128" y="4799343"/>
            <a:ext cx="1083554" cy="20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893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18" r:id="rId1"/>
    <p:sldLayoutId id="2147488019" r:id="rId2"/>
    <p:sldLayoutId id="2147488020" r:id="rId3"/>
    <p:sldLayoutId id="2147488021" r:id="rId4"/>
    <p:sldLayoutId id="2147488022" r:id="rId5"/>
    <p:sldLayoutId id="2147488023" r:id="rId6"/>
    <p:sldLayoutId id="2147488024" r:id="rId7"/>
    <p:sldLayoutId id="2147488025" r:id="rId8"/>
    <p:sldLayoutId id="2147488026" r:id="rId9"/>
    <p:sldLayoutId id="2147488027" r:id="rId10"/>
    <p:sldLayoutId id="2147488028" r:id="rId11"/>
    <p:sldLayoutId id="2147488029" r:id="rId12"/>
    <p:sldLayoutId id="2147488030" r:id="rId13"/>
    <p:sldLayoutId id="2147488031" r:id="rId14"/>
    <p:sldLayoutId id="2147488032" r:id="rId15"/>
    <p:sldLayoutId id="2147488033" r:id="rId16"/>
    <p:sldLayoutId id="2147488034" r:id="rId17"/>
    <p:sldLayoutId id="2147488035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accent6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75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defTabSz="944166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b="1" baseline="0">
          <a:solidFill>
            <a:schemeClr val="accent5"/>
          </a:solidFill>
          <a:latin typeface="+mn-lt"/>
          <a:ea typeface="+mn-ea"/>
          <a:cs typeface="+mn-cs"/>
        </a:defRPr>
      </a:lvl1pPr>
      <a:lvl2pPr algn="l" defTabSz="944166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125" baseline="0">
          <a:solidFill>
            <a:schemeClr val="accent5"/>
          </a:solidFill>
          <a:latin typeface="+mn-lt"/>
          <a:cs typeface="+mn-cs"/>
        </a:defRPr>
      </a:lvl2pPr>
      <a:lvl3pPr marL="161925" indent="-161925" algn="l" defTabSz="944166" rtl="0" eaLnBrk="0" fontAlgn="base" hangingPunct="0">
        <a:spcBef>
          <a:spcPct val="30000"/>
        </a:spcBef>
        <a:spcAft>
          <a:spcPct val="30000"/>
        </a:spcAft>
        <a:buClr>
          <a:schemeClr val="accent6"/>
        </a:buClr>
        <a:buSzPct val="150000"/>
        <a:buFont typeface="Wingdings" pitchFamily="2" charset="2"/>
        <a:buChar char=""/>
        <a:defRPr sz="900" baseline="0">
          <a:solidFill>
            <a:schemeClr val="accent5"/>
          </a:solidFill>
          <a:latin typeface="+mn-lt"/>
          <a:cs typeface="+mn-cs"/>
        </a:defRPr>
      </a:lvl3pPr>
      <a:lvl4pPr marL="161925" indent="-147638" algn="l" defTabSz="944166" rtl="0" eaLnBrk="0" fontAlgn="base" hangingPunct="0">
        <a:spcBef>
          <a:spcPct val="30000"/>
        </a:spcBef>
        <a:spcAft>
          <a:spcPct val="30000"/>
        </a:spcAft>
        <a:buClr>
          <a:schemeClr val="accent6"/>
        </a:buClr>
        <a:buSzPct val="150000"/>
        <a:buFont typeface="Wingdings" pitchFamily="2" charset="2"/>
        <a:buChar char=""/>
        <a:defRPr sz="750" baseline="0">
          <a:solidFill>
            <a:schemeClr val="accent5"/>
          </a:solidFill>
          <a:latin typeface="+mn-lt"/>
          <a:cs typeface="+mn-cs"/>
        </a:defRPr>
      </a:lvl4pPr>
      <a:lvl5pPr marL="323850" indent="-161925" algn="l" defTabSz="944166" rtl="0" eaLnBrk="0" fontAlgn="base" hangingPunct="0">
        <a:lnSpc>
          <a:spcPct val="120000"/>
        </a:lnSpc>
        <a:spcBef>
          <a:spcPct val="0"/>
        </a:spcBef>
        <a:spcAft>
          <a:spcPct val="0"/>
        </a:spcAft>
        <a:buClr>
          <a:schemeClr val="accent6"/>
        </a:buClr>
        <a:buFont typeface="Wingdings" pitchFamily="2" charset="2"/>
        <a:buChar char="l"/>
        <a:defRPr sz="750" baseline="0">
          <a:solidFill>
            <a:schemeClr val="accent5"/>
          </a:solidFill>
          <a:latin typeface="+mn-lt"/>
          <a:cs typeface="+mn-cs"/>
        </a:defRPr>
      </a:lvl5pPr>
      <a:lvl6pPr marL="27693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6pPr>
      <a:lvl7pPr marL="31122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7pPr>
      <a:lvl8pPr marL="34551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8pPr>
      <a:lvl9pPr marL="3798094" indent="-136922" algn="l" defTabSz="944166" rtl="0" fontAlgn="base">
        <a:spcBef>
          <a:spcPct val="0"/>
        </a:spcBef>
        <a:spcAft>
          <a:spcPct val="0"/>
        </a:spcAft>
        <a:buFont typeface="Wingdings" pitchFamily="2" charset="2"/>
        <a:buChar char="l"/>
        <a:defRPr sz="75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llipse 14">
            <a:extLst>
              <a:ext uri="{FF2B5EF4-FFF2-40B4-BE49-F238E27FC236}">
                <a16:creationId xmlns:a16="http://schemas.microsoft.com/office/drawing/2014/main" xmlns="" id="{FF9A6BC1-F169-40C8-ADBB-9B24540BFAF4}"/>
              </a:ext>
            </a:extLst>
          </p:cNvPr>
          <p:cNvSpPr/>
          <p:nvPr/>
        </p:nvSpPr>
        <p:spPr>
          <a:xfrm>
            <a:off x="7144106" y="80227"/>
            <a:ext cx="1872208" cy="1872208"/>
          </a:xfrm>
          <a:prstGeom prst="ellipse">
            <a:avLst/>
          </a:prstGeom>
          <a:solidFill>
            <a:schemeClr val="accent5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Arial"/>
              </a:rPr>
              <a:t>GE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cs typeface="Arial"/>
              </a:rPr>
              <a:t>Water &amp; Process Technologies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307975" y="430193"/>
            <a:ext cx="8389938" cy="423862"/>
          </a:xfrm>
        </p:spPr>
        <p:txBody>
          <a:bodyPr/>
          <a:lstStyle/>
          <a:p>
            <a:pPr marL="0" indent="0">
              <a:defRPr/>
            </a:pPr>
            <a:r>
              <a:rPr lang="is-IS" sz="2400" dirty="0">
                <a:solidFill>
                  <a:srgbClr val="030F40"/>
                </a:solidFill>
                <a:ea typeface="+mn-ea"/>
                <a:cs typeface="+mn-cs"/>
              </a:rPr>
              <a:t/>
            </a:r>
            <a:br>
              <a:rPr lang="is-IS" sz="2400" dirty="0">
                <a:solidFill>
                  <a:srgbClr val="030F40"/>
                </a:solidFill>
                <a:ea typeface="+mn-ea"/>
                <a:cs typeface="+mn-cs"/>
              </a:rPr>
            </a:br>
            <a:r>
              <a:rPr lang="is-IS" sz="2400" dirty="0">
                <a:solidFill>
                  <a:srgbClr val="030F40"/>
                </a:solidFill>
                <a:ea typeface="+mn-ea"/>
                <a:cs typeface="+mn-cs"/>
              </a:rPr>
              <a:t>Water Technologies &amp; Solutions</a:t>
            </a:r>
            <a:endParaRPr lang="en-GB" sz="2400" dirty="0">
              <a:solidFill>
                <a:srgbClr val="030F40"/>
              </a:solidFill>
              <a:ea typeface="+mn-ea"/>
              <a:cs typeface="+mn-cs"/>
            </a:endParaRPr>
          </a:p>
        </p:txBody>
      </p:sp>
      <p:sp>
        <p:nvSpPr>
          <p:cNvPr id="33795" name="Espace réservé du numéro de diapositive 5"/>
          <p:cNvSpPr>
            <a:spLocks noGrp="1"/>
          </p:cNvSpPr>
          <p:nvPr>
            <p:ph type="sldNum" sz="quarter" idx="22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>
              <a:defRPr/>
            </a:pPr>
            <a:fld id="{C77F7FED-C300-F947-BF36-874DD95BE775}" type="slidenum">
              <a:rPr lang="en-GB" smtClean="0">
                <a:solidFill>
                  <a:srgbClr val="AADC14"/>
                </a:solidFill>
              </a:rPr>
              <a:pPr>
                <a:defRPr/>
              </a:pPr>
              <a:t>1</a:t>
            </a:fld>
            <a:r>
              <a:rPr lang="en-GB" dirty="0">
                <a:solidFill>
                  <a:srgbClr val="AADC14"/>
                </a:solidFill>
              </a:rPr>
              <a:t> I</a:t>
            </a:r>
          </a:p>
        </p:txBody>
      </p:sp>
      <p:sp>
        <p:nvSpPr>
          <p:cNvPr id="58371" name="AutoShape 10" descr="Afficher l'image d'origine"/>
          <p:cNvSpPr>
            <a:spLocks noChangeAspect="1" noChangeArrowheads="1"/>
          </p:cNvSpPr>
          <p:nvPr/>
        </p:nvSpPr>
        <p:spPr bwMode="auto">
          <a:xfrm>
            <a:off x="155575" y="-107950"/>
            <a:ext cx="304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dirty="0"/>
          </a:p>
        </p:txBody>
      </p:sp>
      <p:sp>
        <p:nvSpPr>
          <p:cNvPr id="2" name="Espace réservé du pied de page 1"/>
          <p:cNvSpPr>
            <a:spLocks noGrp="1"/>
          </p:cNvSpPr>
          <p:nvPr>
            <p:ph type="ftr" sz="quarter" idx="21"/>
          </p:nvPr>
        </p:nvSpPr>
        <p:spPr>
          <a:xfrm>
            <a:off x="753197" y="4776022"/>
            <a:ext cx="6696075" cy="350837"/>
          </a:xfrm>
        </p:spPr>
        <p:txBody>
          <a:bodyPr/>
          <a:lstStyle/>
          <a:p>
            <a:pPr>
              <a:defRPr/>
            </a:pPr>
            <a:r>
              <a:rPr lang="en-GB" altLang="fr-FR" dirty="0"/>
              <a:t>SUEZ Water Technologies &amp; Solution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62265" y="3360660"/>
            <a:ext cx="2004661" cy="623258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>
              <a:defRPr/>
            </a:pPr>
            <a:r>
              <a:rPr lang="en-US" sz="3600" b="1" kern="0" dirty="0">
                <a:solidFill>
                  <a:srgbClr val="767C97"/>
                </a:solidFill>
                <a:cs typeface="Arial" panose="020B0604020202020204" pitchFamily="34" charset="0"/>
              </a:rPr>
              <a:t>10,000+</a:t>
            </a:r>
            <a:endParaRPr lang="fr-FR" sz="3600" b="1" kern="0" dirty="0">
              <a:solidFill>
                <a:srgbClr val="767C97"/>
              </a:solidFill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384114" y="2103753"/>
            <a:ext cx="15953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fr-FR" sz="3600" b="1" kern="0" dirty="0">
                <a:solidFill>
                  <a:srgbClr val="ABAFBF"/>
                </a:solidFill>
                <a:cs typeface="Arial" panose="020B0604020202020204" pitchFamily="34" charset="0"/>
              </a:rPr>
              <a:t>10,000</a:t>
            </a:r>
            <a:endParaRPr lang="fr-FR" sz="3600" dirty="0">
              <a:solidFill>
                <a:srgbClr val="ABAFBF"/>
              </a:solidFill>
              <a:cs typeface="Arial" panose="020B0604020202020204" pitchFamily="34" charset="0"/>
            </a:endParaRPr>
          </a:p>
        </p:txBody>
      </p:sp>
      <p:sp>
        <p:nvSpPr>
          <p:cNvPr id="27" name="Espace réservé du contenu 2"/>
          <p:cNvSpPr txBox="1">
            <a:spLocks/>
          </p:cNvSpPr>
          <p:nvPr/>
        </p:nvSpPr>
        <p:spPr bwMode="gray">
          <a:xfrm>
            <a:off x="2332348" y="1997499"/>
            <a:ext cx="1588144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aseline="0">
                <a:solidFill>
                  <a:schemeClr val="accent5"/>
                </a:solidFill>
                <a:latin typeface="+mn-lt"/>
                <a:cs typeface="+mn-cs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200" baseline="0">
                <a:solidFill>
                  <a:schemeClr val="accent5"/>
                </a:solidFill>
                <a:latin typeface="+mn-lt"/>
                <a:cs typeface="+mn-cs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200" b="0" dirty="0">
                <a:solidFill>
                  <a:srgbClr val="030F40"/>
                </a:solidFill>
                <a:latin typeface="Arial"/>
                <a:ea typeface="ヒラギノ角ゴ Pro W3" pitchFamily="-1" charset="-128"/>
                <a:cs typeface="Arial"/>
              </a:rPr>
              <a:t>employees</a:t>
            </a:r>
          </a:p>
        </p:txBody>
      </p:sp>
      <p:sp>
        <p:nvSpPr>
          <p:cNvPr id="28" name="Espace réservé du contenu 2"/>
          <p:cNvSpPr txBox="1">
            <a:spLocks/>
          </p:cNvSpPr>
          <p:nvPr/>
        </p:nvSpPr>
        <p:spPr bwMode="gray">
          <a:xfrm>
            <a:off x="2347305" y="2612043"/>
            <a:ext cx="1817459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aseline="0">
                <a:solidFill>
                  <a:schemeClr val="accent5"/>
                </a:solidFill>
                <a:latin typeface="+mn-lt"/>
                <a:cs typeface="+mn-cs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200" baseline="0">
                <a:solidFill>
                  <a:schemeClr val="accent5"/>
                </a:solidFill>
                <a:latin typeface="+mn-lt"/>
                <a:cs typeface="+mn-cs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altLang="fr-FR" sz="1200" b="0" kern="0" dirty="0">
                <a:solidFill>
                  <a:srgbClr val="030F40"/>
                </a:solidFill>
                <a:latin typeface="Arial"/>
                <a:cs typeface="Arial"/>
              </a:rPr>
              <a:t>industrial and municipal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altLang="fr-FR" sz="1200" b="0" kern="0" dirty="0">
                <a:solidFill>
                  <a:srgbClr val="030F40"/>
                </a:solidFill>
                <a:latin typeface="Arial"/>
                <a:cs typeface="Arial"/>
              </a:rPr>
              <a:t>customers addressed 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altLang="fr-FR" sz="1200" b="0" kern="0" dirty="0">
                <a:solidFill>
                  <a:srgbClr val="030F40"/>
                </a:solidFill>
                <a:latin typeface="Arial"/>
                <a:cs typeface="Arial"/>
              </a:rPr>
              <a:t>worldwide</a:t>
            </a:r>
          </a:p>
        </p:txBody>
      </p:sp>
      <p:sp>
        <p:nvSpPr>
          <p:cNvPr id="30" name="Espace réservé du contenu 2"/>
          <p:cNvSpPr txBox="1">
            <a:spLocks/>
          </p:cNvSpPr>
          <p:nvPr/>
        </p:nvSpPr>
        <p:spPr bwMode="gray">
          <a:xfrm>
            <a:off x="2347305" y="3289079"/>
            <a:ext cx="1817459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aseline="0">
                <a:solidFill>
                  <a:schemeClr val="accent5"/>
                </a:solidFill>
                <a:latin typeface="+mn-lt"/>
                <a:cs typeface="+mn-cs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200" baseline="0">
                <a:solidFill>
                  <a:schemeClr val="accent5"/>
                </a:solidFill>
                <a:latin typeface="+mn-lt"/>
                <a:cs typeface="+mn-cs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altLang="fr-FR" sz="1200" b="0" kern="0" dirty="0">
                <a:solidFill>
                  <a:srgbClr val="030F40"/>
                </a:solidFill>
                <a:cs typeface="Arial"/>
              </a:rPr>
              <a:t>combined technologies</a:t>
            </a:r>
            <a:endParaRPr lang="en-GB" altLang="fr-FR" sz="1200" b="0" strike="sngStrike" kern="0" dirty="0">
              <a:solidFill>
                <a:srgbClr val="030F40"/>
              </a:solidFill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65651" y="2746116"/>
            <a:ext cx="1818465" cy="623258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>
              <a:defRPr/>
            </a:pPr>
            <a:r>
              <a:rPr lang="en-US" altLang="fr-FR" sz="3600" b="1" kern="0" dirty="0">
                <a:solidFill>
                  <a:srgbClr val="030F40"/>
                </a:solidFill>
                <a:cs typeface="Arial" panose="020B0604020202020204" pitchFamily="34" charset="0"/>
              </a:rPr>
              <a:t>50,000+</a:t>
            </a:r>
            <a:endParaRPr lang="fr-FR" sz="3600" dirty="0">
              <a:solidFill>
                <a:srgbClr val="030F40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7975" y="1123448"/>
            <a:ext cx="4679999" cy="107950"/>
          </a:xfrm>
          <a:prstGeom prst="rect">
            <a:avLst/>
          </a:prstGeom>
          <a:solidFill>
            <a:srgbClr val="AADC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101235" y="1865960"/>
            <a:ext cx="1773477" cy="3120708"/>
          </a:xfrm>
          <a:prstGeom prst="rect">
            <a:avLst/>
          </a:prstGeom>
          <a:solidFill>
            <a:schemeClr val="accent5">
              <a:lumMod val="75000"/>
              <a:lumOff val="2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000" b="1" dirty="0"/>
          </a:p>
          <a:p>
            <a:r>
              <a:rPr lang="en-US" sz="1600" b="1" dirty="0">
                <a:solidFill>
                  <a:srgbClr val="AADC14"/>
                </a:solidFill>
              </a:rPr>
              <a:t>90,000+ </a:t>
            </a:r>
            <a:r>
              <a:rPr lang="en-US" sz="1400" dirty="0"/>
              <a:t>employees</a:t>
            </a:r>
          </a:p>
          <a:p>
            <a:endParaRPr lang="en-US" sz="1000" dirty="0"/>
          </a:p>
          <a:p>
            <a:r>
              <a:rPr lang="en-US" sz="1600" b="1" dirty="0">
                <a:solidFill>
                  <a:srgbClr val="AADC14"/>
                </a:solidFill>
              </a:rPr>
              <a:t>450,000</a:t>
            </a:r>
            <a:r>
              <a:rPr lang="en-US" sz="1600" dirty="0">
                <a:solidFill>
                  <a:srgbClr val="AADC14"/>
                </a:solidFill>
              </a:rPr>
              <a:t> </a:t>
            </a:r>
            <a:r>
              <a:rPr lang="en-US" sz="1400" dirty="0"/>
              <a:t>business and industrial customers worldwide</a:t>
            </a:r>
            <a:endParaRPr lang="en-US" sz="1400" dirty="0">
              <a:cs typeface="Arial"/>
            </a:endParaRPr>
          </a:p>
          <a:p>
            <a:endParaRPr lang="en-US" sz="1000" dirty="0"/>
          </a:p>
          <a:p>
            <a:r>
              <a:rPr lang="en-US" sz="1600" b="1" dirty="0">
                <a:solidFill>
                  <a:srgbClr val="AADC14"/>
                </a:solidFill>
              </a:rPr>
              <a:t>€120m </a:t>
            </a:r>
            <a:r>
              <a:rPr lang="en-US" sz="1400" dirty="0"/>
              <a:t>combined annual R&amp;D investment</a:t>
            </a:r>
            <a:endParaRPr lang="en-US" sz="1400" dirty="0">
              <a:cs typeface="Arial"/>
            </a:endParaRPr>
          </a:p>
        </p:txBody>
      </p:sp>
      <p:sp>
        <p:nvSpPr>
          <p:cNvPr id="18" name="Espace réservé du contenu 2"/>
          <p:cNvSpPr txBox="1">
            <a:spLocks/>
          </p:cNvSpPr>
          <p:nvPr/>
        </p:nvSpPr>
        <p:spPr bwMode="gray">
          <a:xfrm>
            <a:off x="2347305" y="3903282"/>
            <a:ext cx="1573187" cy="85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defTabSz="1258888" rtl="0" eaLnBrk="0" fontAlgn="base" hangingPunct="0">
              <a:lnSpc>
                <a:spcPct val="120000"/>
              </a:lnSpc>
              <a:spcBef>
                <a:spcPct val="50000"/>
              </a:spcBef>
              <a:spcAft>
                <a:spcPct val="0"/>
              </a:spcAft>
              <a:defRPr b="1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algn="l" defTabSz="1258888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500" baseline="0">
                <a:solidFill>
                  <a:schemeClr val="accent5"/>
                </a:solidFill>
                <a:latin typeface="+mn-lt"/>
                <a:cs typeface="+mn-cs"/>
              </a:defRPr>
            </a:lvl2pPr>
            <a:lvl3pPr marL="215900" indent="-21590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200" baseline="0">
                <a:solidFill>
                  <a:schemeClr val="accent5"/>
                </a:solidFill>
                <a:latin typeface="+mn-lt"/>
                <a:cs typeface="+mn-cs"/>
              </a:defRPr>
            </a:lvl3pPr>
            <a:lvl4pPr marL="215900" indent="-196850" algn="l" defTabSz="1258888" rtl="0" eaLnBrk="0" fontAlgn="base" hangingPunct="0">
              <a:spcBef>
                <a:spcPct val="30000"/>
              </a:spcBef>
              <a:spcAft>
                <a:spcPct val="30000"/>
              </a:spcAft>
              <a:buClr>
                <a:schemeClr val="accent6"/>
              </a:buClr>
              <a:buSzPct val="150000"/>
              <a:buFont typeface="Wingdings" pitchFamily="2" charset="2"/>
              <a:buChar char="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4pPr>
            <a:lvl5pPr marL="431800" indent="-215900" algn="l" defTabSz="1258888" rtl="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Font typeface="Wingdings" pitchFamily="2" charset="2"/>
              <a:buChar char="l"/>
              <a:defRPr sz="1000" baseline="0">
                <a:solidFill>
                  <a:schemeClr val="accent5"/>
                </a:solidFill>
                <a:latin typeface="+mn-lt"/>
                <a:cs typeface="+mn-cs"/>
              </a:defRPr>
            </a:lvl5pPr>
            <a:lvl6pPr marL="36925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6pPr>
            <a:lvl7pPr marL="41497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7pPr>
            <a:lvl8pPr marL="46069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8pPr>
            <a:lvl9pPr marL="5064125" indent="-182563" algn="l" defTabSz="1258888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l"/>
              <a:defRPr sz="1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en-GB" altLang="fr-FR" sz="1200" b="0" kern="0" dirty="0">
                <a:solidFill>
                  <a:srgbClr val="030F40"/>
                </a:solidFill>
                <a:cs typeface="Arial"/>
              </a:rPr>
              <a:t>m</a:t>
            </a:r>
            <a:r>
              <a:rPr lang="en-GB" altLang="fr-FR" sz="1200" b="0" kern="0" baseline="30000" dirty="0">
                <a:solidFill>
                  <a:srgbClr val="030F40"/>
                </a:solidFill>
                <a:cs typeface="Arial"/>
              </a:rPr>
              <a:t>3</a:t>
            </a:r>
            <a:r>
              <a:rPr lang="en-GB" altLang="fr-FR" sz="1200" b="0" kern="0" dirty="0">
                <a:solidFill>
                  <a:srgbClr val="030F40"/>
                </a:solidFill>
                <a:cs typeface="Arial"/>
              </a:rPr>
              <a:t> of water</a:t>
            </a:r>
            <a:br>
              <a:rPr lang="en-GB" altLang="fr-FR" sz="1200" b="0" kern="0" dirty="0">
                <a:solidFill>
                  <a:srgbClr val="030F40"/>
                </a:solidFill>
                <a:cs typeface="Arial"/>
              </a:rPr>
            </a:br>
            <a:r>
              <a:rPr lang="en-GB" altLang="fr-FR" sz="1200" b="0" kern="0" dirty="0">
                <a:solidFill>
                  <a:srgbClr val="030F40"/>
                </a:solidFill>
                <a:cs typeface="Arial"/>
              </a:rPr>
              <a:t>treated per day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47823" y="3997821"/>
            <a:ext cx="2270512" cy="623258"/>
          </a:xfrm>
          <a:prstGeom prst="rect">
            <a:avLst/>
          </a:prstGeom>
        </p:spPr>
        <p:txBody>
          <a:bodyPr wrap="square" lIns="68589" tIns="34295" rIns="68589" bIns="34295">
            <a:spAutoFit/>
          </a:bodyPr>
          <a:lstStyle/>
          <a:p>
            <a:pPr>
              <a:defRPr/>
            </a:pPr>
            <a:r>
              <a:rPr lang="en-US" altLang="fr-FR" sz="3600" b="1" kern="0" dirty="0">
                <a:solidFill>
                  <a:srgbClr val="030F40"/>
                </a:solidFill>
                <a:cs typeface="Arial" panose="020B0604020202020204" pitchFamily="34" charset="0"/>
              </a:rPr>
              <a:t>11,4m</a:t>
            </a:r>
            <a:endParaRPr lang="fr-FR" sz="3600" baseline="30000" dirty="0">
              <a:solidFill>
                <a:srgbClr val="030F40"/>
              </a:solidFill>
              <a:cs typeface="Arial" panose="020B0604020202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207765" y="1414425"/>
            <a:ext cx="3104060" cy="646331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b="1" dirty="0">
                <a:solidFill>
                  <a:srgbClr val="AADC14"/>
                </a:solidFill>
              </a:rPr>
              <a:t>Water </a:t>
            </a:r>
            <a:r>
              <a:rPr lang="fr-FR" b="1" dirty="0">
                <a:solidFill>
                  <a:srgbClr val="AADC14"/>
                </a:solidFill>
                <a:cs typeface="Arial"/>
              </a:rPr>
              <a:t>Technologies</a:t>
            </a:r>
          </a:p>
          <a:p>
            <a:pPr algn="ctr"/>
            <a:r>
              <a:rPr lang="fr-FR" b="1" dirty="0">
                <a:solidFill>
                  <a:srgbClr val="AADC14"/>
                </a:solidFill>
                <a:cs typeface="Arial"/>
              </a:rPr>
              <a:t>     &amp; Solutions</a:t>
            </a:r>
          </a:p>
        </p:txBody>
      </p:sp>
      <p:sp>
        <p:nvSpPr>
          <p:cNvPr id="19" name="Ellipse 3">
            <a:extLst>
              <a:ext uri="{FF2B5EF4-FFF2-40B4-BE49-F238E27FC236}">
                <a16:creationId xmlns:a16="http://schemas.microsoft.com/office/drawing/2014/main" xmlns="" id="{3F241779-E321-4121-9547-89808AA9CFC3}"/>
              </a:ext>
            </a:extLst>
          </p:cNvPr>
          <p:cNvSpPr/>
          <p:nvPr/>
        </p:nvSpPr>
        <p:spPr>
          <a:xfrm>
            <a:off x="5602656" y="80227"/>
            <a:ext cx="1872208" cy="1872208"/>
          </a:xfrm>
          <a:prstGeom prst="ellipse">
            <a:avLst/>
          </a:prstGeom>
          <a:solidFill>
            <a:srgbClr val="AADC1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accent5"/>
                </a:solidFill>
                <a:cs typeface="Arial"/>
              </a:rPr>
              <a:t>SUEZ’s industrial water activities</a:t>
            </a:r>
          </a:p>
        </p:txBody>
      </p:sp>
      <p:pic>
        <p:nvPicPr>
          <p:cNvPr id="22" name="Image 15" descr="SUEZ.jpg">
            <a:extLst>
              <a:ext uri="{FF2B5EF4-FFF2-40B4-BE49-F238E27FC236}">
                <a16:creationId xmlns:a16="http://schemas.microsoft.com/office/drawing/2014/main" xmlns="" id="{FDB7F531-E6F5-4053-998E-6B794CE36D1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650" y="150914"/>
            <a:ext cx="1938466" cy="616843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3AF2A51C-C993-4CF6-A33A-88DD93566825}"/>
              </a:ext>
            </a:extLst>
          </p:cNvPr>
          <p:cNvSpPr/>
          <p:nvPr/>
        </p:nvSpPr>
        <p:spPr>
          <a:xfrm>
            <a:off x="6109546" y="2390817"/>
            <a:ext cx="2998950" cy="25958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Water Reuse (UF/MBR/RO/UV/O3)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IPR/DPR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Title 22 NPR</a:t>
            </a:r>
          </a:p>
          <a:p>
            <a:pPr marL="628650" lvl="1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Irrigation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Energy Neutral WWTP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Energy Recovery (ADT)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Intensified Nitrification (MABR)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Nutrient Recovery	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Biosolids and </a:t>
            </a:r>
            <a:r>
              <a:rPr lang="en-US" sz="1200" b="1" dirty="0" err="1">
                <a:solidFill>
                  <a:schemeClr val="bg1"/>
                </a:solidFill>
                <a:latin typeface="Arial" charset="0"/>
                <a:ea typeface="ＭＳ Ｐゴシック" charset="0"/>
              </a:rPr>
              <a:t>Biowaste</a:t>
            </a:r>
            <a:endParaRPr lang="en-US" sz="1200" b="1" dirty="0">
              <a:solidFill>
                <a:schemeClr val="bg1"/>
              </a:solidFill>
              <a:latin typeface="Arial" charset="0"/>
              <a:ea typeface="ＭＳ Ｐゴシック" charset="0"/>
            </a:endParaRP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Zero-liquid-discharge</a:t>
            </a:r>
          </a:p>
          <a:p>
            <a:pPr marL="171450" lvl="0" indent="-171450">
              <a:buFont typeface="Courier New" panose="02070309020205020404" pitchFamily="49" charset="0"/>
              <a:buChar char="o"/>
            </a:pPr>
            <a:r>
              <a:rPr lang="en-US" sz="1200" b="1" dirty="0">
                <a:solidFill>
                  <a:schemeClr val="bg1"/>
                </a:solidFill>
                <a:latin typeface="Arial" charset="0"/>
                <a:ea typeface="ＭＳ Ｐゴシック" charset="0"/>
              </a:rPr>
              <a:t>Recycling Plastic/Glass/Metals</a:t>
            </a:r>
          </a:p>
        </p:txBody>
      </p:sp>
      <p:sp>
        <p:nvSpPr>
          <p:cNvPr id="26" name="ZoneTexte 7">
            <a:extLst>
              <a:ext uri="{FF2B5EF4-FFF2-40B4-BE49-F238E27FC236}">
                <a16:creationId xmlns:a16="http://schemas.microsoft.com/office/drawing/2014/main" xmlns="" id="{F006ED91-773B-439F-9B29-DEC61A4DB40C}"/>
              </a:ext>
            </a:extLst>
          </p:cNvPr>
          <p:cNvSpPr txBox="1"/>
          <p:nvPr/>
        </p:nvSpPr>
        <p:spPr>
          <a:xfrm>
            <a:off x="4164764" y="1490171"/>
            <a:ext cx="1304156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b="1" dirty="0">
                <a:solidFill>
                  <a:srgbClr val="AADC14"/>
                </a:solidFill>
                <a:cs typeface="Arial"/>
              </a:rPr>
              <a:t>SUEZ</a:t>
            </a:r>
          </a:p>
        </p:txBody>
      </p:sp>
      <p:sp>
        <p:nvSpPr>
          <p:cNvPr id="29" name="ZoneTexte 7">
            <a:extLst>
              <a:ext uri="{FF2B5EF4-FFF2-40B4-BE49-F238E27FC236}">
                <a16:creationId xmlns:a16="http://schemas.microsoft.com/office/drawing/2014/main" xmlns="" id="{C1795D75-EFC4-46D3-8076-12E271D42F31}"/>
              </a:ext>
            </a:extLst>
          </p:cNvPr>
          <p:cNvSpPr txBox="1"/>
          <p:nvPr/>
        </p:nvSpPr>
        <p:spPr>
          <a:xfrm>
            <a:off x="5372886" y="1987676"/>
            <a:ext cx="3878381" cy="369332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b="1" dirty="0">
                <a:solidFill>
                  <a:schemeClr val="accent5">
                    <a:lumMod val="75000"/>
                    <a:lumOff val="25000"/>
                  </a:schemeClr>
                </a:solidFill>
                <a:cs typeface="Arial"/>
              </a:rPr>
              <a:t>Resource Revolution</a:t>
            </a:r>
          </a:p>
        </p:txBody>
      </p:sp>
    </p:spTree>
    <p:extLst>
      <p:ext uri="{BB962C8B-B14F-4D97-AF65-F5344CB8AC3E}">
        <p14:creationId xmlns:p14="http://schemas.microsoft.com/office/powerpoint/2010/main" val="42598108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383ECFE-13DC-4527-95B6-87DD41A041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7" y="302400"/>
            <a:ext cx="2119247" cy="1099231"/>
          </a:xfrm>
        </p:spPr>
        <p:txBody>
          <a:bodyPr/>
          <a:lstStyle/>
          <a:p>
            <a:r>
              <a:rPr lang="en-US" sz="240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Bay Area</a:t>
            </a:r>
          </a:p>
          <a:p>
            <a:r>
              <a:rPr lang="en-US" sz="240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Sustainability</a:t>
            </a:r>
          </a:p>
          <a:p>
            <a:r>
              <a:rPr lang="en-US" sz="2400" dirty="0">
                <a:solidFill>
                  <a:schemeClr val="accent5">
                    <a:lumMod val="75000"/>
                    <a:lumOff val="25000"/>
                  </a:schemeClr>
                </a:solidFill>
              </a:rPr>
              <a:t>Champ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496279D-3411-4414-BFC1-623EB19D941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9517" y="1378981"/>
            <a:ext cx="1064670" cy="1476734"/>
          </a:xfrm>
          <a:solidFill>
            <a:schemeClr val="accent5">
              <a:lumMod val="50000"/>
              <a:lumOff val="50000"/>
            </a:schemeClr>
          </a:solidFill>
        </p:spPr>
        <p:txBody>
          <a:bodyPr/>
          <a:lstStyle/>
          <a:p>
            <a:endParaRPr lang="en-US" sz="1400" dirty="0"/>
          </a:p>
          <a:p>
            <a:endParaRPr lang="en-US" sz="1400" dirty="0"/>
          </a:p>
          <a:p>
            <a:endParaRPr lang="en-US" sz="1200" dirty="0"/>
          </a:p>
          <a:p>
            <a:endParaRPr lang="en-US" sz="1000" dirty="0"/>
          </a:p>
          <a:p>
            <a:r>
              <a:rPr lang="en-US" sz="1000" dirty="0"/>
              <a:t>Drops &amp; Energy</a:t>
            </a:r>
          </a:p>
          <a:p>
            <a:r>
              <a:rPr lang="en-US" sz="1000" dirty="0"/>
              <a:t>Being Spared</a:t>
            </a:r>
          </a:p>
          <a:p>
            <a:r>
              <a:rPr lang="en-US" sz="1000" dirty="0"/>
              <a:t> in Bay Area</a:t>
            </a:r>
          </a:p>
          <a:p>
            <a:r>
              <a:rPr lang="en-US" sz="1000" dirty="0"/>
              <a:t>2017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111B69A-FE5A-465D-B3DF-868F9A67A16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>
              <a:defRPr/>
            </a:pPr>
            <a:r>
              <a:rPr lang="en-GB" altLang="fr-FR" dirty="0"/>
              <a:t>SUEZ Water Technologies &amp; </a:t>
            </a:r>
          </a:p>
          <a:p>
            <a:pPr>
              <a:defRPr/>
            </a:pPr>
            <a:r>
              <a:rPr lang="en-GB" altLang="fr-FR" dirty="0"/>
              <a:t>Solutions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1F7D820-8FFA-4CB6-AEAF-44F21634267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>
              <a:defRPr/>
            </a:pPr>
            <a:fld id="{2675DFD5-FC56-D540-9012-64076EBDC4F3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E10AA380-0951-4999-B54B-99C2F1C1AE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732" y="-5080"/>
            <a:ext cx="3857506" cy="510315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02779143-6FE2-45D8-8EDF-587845DA38A6}"/>
              </a:ext>
            </a:extLst>
          </p:cNvPr>
          <p:cNvSpPr txBox="1"/>
          <p:nvPr/>
        </p:nvSpPr>
        <p:spPr>
          <a:xfrm>
            <a:off x="6116404" y="1163565"/>
            <a:ext cx="2937821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 err="1">
                <a:solidFill>
                  <a:schemeClr val="bg1"/>
                </a:solidFill>
              </a:rPr>
              <a:t>Ironhouse</a:t>
            </a:r>
            <a:r>
              <a:rPr lang="en-US" sz="1000" b="1" dirty="0">
                <a:solidFill>
                  <a:schemeClr val="bg1"/>
                </a:solidFill>
              </a:rPr>
              <a:t> SD MBR/UV WRF 4.3 MGD *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1215541-5DF8-4E17-B163-714977C4B694}"/>
              </a:ext>
            </a:extLst>
          </p:cNvPr>
          <p:cNvSpPr txBox="1"/>
          <p:nvPr/>
        </p:nvSpPr>
        <p:spPr>
          <a:xfrm>
            <a:off x="6307051" y="870529"/>
            <a:ext cx="2181014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NRG Pittsburg PP UF BWDPRO *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B7F0035-DA79-4CB2-BC94-2D5355318204}"/>
              </a:ext>
            </a:extLst>
          </p:cNvPr>
          <p:cNvSpPr txBox="1"/>
          <p:nvPr/>
        </p:nvSpPr>
        <p:spPr>
          <a:xfrm>
            <a:off x="6307051" y="2738748"/>
            <a:ext cx="2617964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DSRSD RWTF 1.2  MGD ADRWF (2016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03DAB7FD-796F-47F0-8C56-E9793B22381D}"/>
              </a:ext>
            </a:extLst>
          </p:cNvPr>
          <p:cNvSpPr txBox="1"/>
          <p:nvPr/>
        </p:nvSpPr>
        <p:spPr>
          <a:xfrm>
            <a:off x="7095008" y="4044125"/>
            <a:ext cx="2010290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VAWPC MF RO UV  8 MGD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8853BEA-D131-4DAD-877E-B08574BF5A98}"/>
              </a:ext>
            </a:extLst>
          </p:cNvPr>
          <p:cNvSpPr txBox="1"/>
          <p:nvPr/>
        </p:nvSpPr>
        <p:spPr>
          <a:xfrm>
            <a:off x="2169850" y="985923"/>
            <a:ext cx="2888695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American Canyon MBR UV WWTP 3.7 MGD *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490A64D4-73DC-44C4-94C2-2C68CB85A4CE}"/>
              </a:ext>
            </a:extLst>
          </p:cNvPr>
          <p:cNvSpPr txBox="1"/>
          <p:nvPr/>
        </p:nvSpPr>
        <p:spPr>
          <a:xfrm>
            <a:off x="6695776" y="271120"/>
            <a:ext cx="2384981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ache Creek MBR/EDR AWWTP 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D62A9007-C44F-4F29-A120-17F3114E263D}"/>
              </a:ext>
            </a:extLst>
          </p:cNvPr>
          <p:cNvSpPr txBox="1"/>
          <p:nvPr/>
        </p:nvSpPr>
        <p:spPr>
          <a:xfrm>
            <a:off x="5656071" y="562772"/>
            <a:ext cx="1386918" cy="246221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sz="1000" b="1" dirty="0" err="1">
                <a:solidFill>
                  <a:schemeClr val="bg1"/>
                </a:solidFill>
              </a:rPr>
              <a:t>Carnaros</a:t>
            </a:r>
            <a:r>
              <a:rPr lang="en-US" sz="1000" b="1" dirty="0">
                <a:solidFill>
                  <a:schemeClr val="bg1"/>
                </a:solidFill>
              </a:rPr>
              <a:t> Inn WRF *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2A39D46B-7997-491C-B12F-79B9B67AD83E}"/>
              </a:ext>
            </a:extLst>
          </p:cNvPr>
          <p:cNvSpPr txBox="1"/>
          <p:nvPr/>
        </p:nvSpPr>
        <p:spPr>
          <a:xfrm>
            <a:off x="2737692" y="401346"/>
            <a:ext cx="1825482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anta Rosa WRF 12.6 MG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CFA5190-F756-443F-992B-4C0B7C77844C}"/>
              </a:ext>
            </a:extLst>
          </p:cNvPr>
          <p:cNvSpPr txBox="1"/>
          <p:nvPr/>
        </p:nvSpPr>
        <p:spPr>
          <a:xfrm>
            <a:off x="5711258" y="3420506"/>
            <a:ext cx="2965877" cy="246221"/>
          </a:xfrm>
          <a:prstGeom prst="rect">
            <a:avLst/>
          </a:prstGeom>
          <a:solidFill>
            <a:schemeClr val="accent5">
              <a:lumMod val="50000"/>
              <a:lumOff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MABR Lower Energy Intensified Nitrification *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6A8622E-D748-4551-9ECB-D8978B7D4B0C}"/>
              </a:ext>
            </a:extLst>
          </p:cNvPr>
          <p:cNvSpPr txBox="1"/>
          <p:nvPr/>
        </p:nvSpPr>
        <p:spPr>
          <a:xfrm>
            <a:off x="1740401" y="2825336"/>
            <a:ext cx="2084225" cy="246221"/>
          </a:xfrm>
          <a:prstGeom prst="rect">
            <a:avLst/>
          </a:prstGeom>
          <a:solidFill>
            <a:schemeClr val="accent5">
              <a:lumMod val="50000"/>
              <a:lumOff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FPUC Westside ARWP 2 MGD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DEC94C27-70AE-4714-97CA-9E8250146351}"/>
              </a:ext>
            </a:extLst>
          </p:cNvPr>
          <p:cNvSpPr txBox="1"/>
          <p:nvPr/>
        </p:nvSpPr>
        <p:spPr>
          <a:xfrm>
            <a:off x="743100" y="3670841"/>
            <a:ext cx="3403496" cy="246221"/>
          </a:xfrm>
          <a:prstGeom prst="rect">
            <a:avLst/>
          </a:prstGeom>
          <a:solidFill>
            <a:schemeClr val="accent5">
              <a:lumMod val="50000"/>
              <a:lumOff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an Mateo CWP BNR/MBR AWWTP Upgrade 21 MG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AE36FDE-8353-4E97-8759-323D665A4680}"/>
              </a:ext>
            </a:extLst>
          </p:cNvPr>
          <p:cNvSpPr txBox="1"/>
          <p:nvPr/>
        </p:nvSpPr>
        <p:spPr>
          <a:xfrm>
            <a:off x="1938069" y="3964228"/>
            <a:ext cx="2116285" cy="246221"/>
          </a:xfrm>
          <a:prstGeom prst="rect">
            <a:avLst/>
          </a:prstGeom>
          <a:solidFill>
            <a:schemeClr val="accent5">
              <a:lumMod val="50000"/>
              <a:lumOff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VCW SAF-MBR Demo WWTP *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F60850F7-46EC-44B3-8749-1D81160980C7}"/>
              </a:ext>
            </a:extLst>
          </p:cNvPr>
          <p:cNvSpPr txBox="1"/>
          <p:nvPr/>
        </p:nvSpPr>
        <p:spPr>
          <a:xfrm>
            <a:off x="1595195" y="4233378"/>
            <a:ext cx="3185487" cy="246221"/>
          </a:xfrm>
          <a:prstGeom prst="rect">
            <a:avLst/>
          </a:prstGeom>
          <a:solidFill>
            <a:srgbClr val="FF0066"/>
          </a:solidFill>
        </p:spPr>
        <p:txBody>
          <a:bodyPr wrap="none" rtlCol="0">
            <a:spAutoFit/>
          </a:bodyPr>
          <a:lstStyle/>
          <a:p>
            <a:r>
              <a:rPr lang="en-US" sz="1000" b="1" dirty="0" err="1">
                <a:solidFill>
                  <a:schemeClr val="bg1"/>
                </a:solidFill>
              </a:rPr>
              <a:t>ReNUWIt</a:t>
            </a:r>
            <a:r>
              <a:rPr lang="en-US" sz="1000" b="1" dirty="0">
                <a:solidFill>
                  <a:schemeClr val="bg1"/>
                </a:solidFill>
              </a:rPr>
              <a:t> Stanford </a:t>
            </a:r>
            <a:r>
              <a:rPr lang="en-US" sz="1000" b="1" dirty="0" err="1">
                <a:solidFill>
                  <a:schemeClr val="bg1"/>
                </a:solidFill>
              </a:rPr>
              <a:t>Codiga</a:t>
            </a:r>
            <a:r>
              <a:rPr lang="en-US" sz="1000" b="1" dirty="0">
                <a:solidFill>
                  <a:schemeClr val="bg1"/>
                </a:solidFill>
              </a:rPr>
              <a:t> RRC SAF-MBR Demo *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392BEB9B-303E-4BAD-BD09-4C54D588DDEC}"/>
              </a:ext>
            </a:extLst>
          </p:cNvPr>
          <p:cNvSpPr txBox="1"/>
          <p:nvPr/>
        </p:nvSpPr>
        <p:spPr>
          <a:xfrm>
            <a:off x="5832960" y="4337383"/>
            <a:ext cx="3003919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alpine Metcalf Energy Center 2.5 MG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F93DE739-4518-49D5-B242-40B132F40250}"/>
              </a:ext>
            </a:extLst>
          </p:cNvPr>
          <p:cNvSpPr txBox="1"/>
          <p:nvPr/>
        </p:nvSpPr>
        <p:spPr>
          <a:xfrm>
            <a:off x="5164440" y="3098042"/>
            <a:ext cx="3912473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alpine Russell City Energy Center 1.5 MGD Reuse &amp; ZLD 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E7BDA55F-029D-4AE7-8C3F-08404658AE26}"/>
              </a:ext>
            </a:extLst>
          </p:cNvPr>
          <p:cNvSpPr txBox="1"/>
          <p:nvPr/>
        </p:nvSpPr>
        <p:spPr>
          <a:xfrm>
            <a:off x="6999966" y="1860045"/>
            <a:ext cx="1903085" cy="246221"/>
          </a:xfrm>
          <a:prstGeom prst="rect">
            <a:avLst/>
          </a:prstGeom>
          <a:solidFill>
            <a:srgbClr val="FF0066"/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alpine Delta Energy Cente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85D99EF4-9490-437E-AA02-B2F4F2948A70}"/>
              </a:ext>
            </a:extLst>
          </p:cNvPr>
          <p:cNvSpPr txBox="1"/>
          <p:nvPr/>
        </p:nvSpPr>
        <p:spPr>
          <a:xfrm>
            <a:off x="6713373" y="2110656"/>
            <a:ext cx="2408032" cy="246221"/>
          </a:xfrm>
          <a:prstGeom prst="rect">
            <a:avLst/>
          </a:prstGeom>
          <a:solidFill>
            <a:srgbClr val="FF0066"/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Calpine Los </a:t>
            </a:r>
            <a:r>
              <a:rPr lang="en-US" sz="1000" b="1" dirty="0" err="1">
                <a:solidFill>
                  <a:schemeClr val="bg1"/>
                </a:solidFill>
              </a:rPr>
              <a:t>Medanos</a:t>
            </a:r>
            <a:r>
              <a:rPr lang="en-US" sz="1000" b="1" dirty="0">
                <a:solidFill>
                  <a:schemeClr val="bg1"/>
                </a:solidFill>
              </a:rPr>
              <a:t> Energy Cent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A978FC74-FADD-4AFA-9569-BB8E3C9E82E2}"/>
              </a:ext>
            </a:extLst>
          </p:cNvPr>
          <p:cNvSpPr txBox="1"/>
          <p:nvPr/>
        </p:nvSpPr>
        <p:spPr>
          <a:xfrm>
            <a:off x="4963422" y="2423390"/>
            <a:ext cx="1969553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EBMUD ADT &amp; SSOW 55 MW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C9A51280-3108-4D53-9AF2-BAE23EE086B5}"/>
              </a:ext>
            </a:extLst>
          </p:cNvPr>
          <p:cNvSpPr txBox="1"/>
          <p:nvPr/>
        </p:nvSpPr>
        <p:spPr>
          <a:xfrm>
            <a:off x="4111614" y="1810506"/>
            <a:ext cx="2504342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EBMUD Chevron RARE WRF 3.5 MGD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ADBB8619-00CF-4E2C-BE79-7206ABCB86FC}"/>
              </a:ext>
            </a:extLst>
          </p:cNvPr>
          <p:cNvSpPr txBox="1"/>
          <p:nvPr/>
        </p:nvSpPr>
        <p:spPr>
          <a:xfrm>
            <a:off x="4356498" y="2125864"/>
            <a:ext cx="2296409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EBMUD ALAMEDA WRF 2.3 MG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F8076A7D-4FA9-4D89-99B3-79A6132B6F82}"/>
              </a:ext>
            </a:extLst>
          </p:cNvPr>
          <p:cNvSpPr txBox="1"/>
          <p:nvPr/>
        </p:nvSpPr>
        <p:spPr>
          <a:xfrm>
            <a:off x="1036870" y="1723233"/>
            <a:ext cx="2613563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LGVSD WRF  1.4 MGD (5.4 MGD Exp.) *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102F52E0-FF52-478B-B2BD-0416BCFCB4F4}"/>
              </a:ext>
            </a:extLst>
          </p:cNvPr>
          <p:cNvSpPr txBox="1"/>
          <p:nvPr/>
        </p:nvSpPr>
        <p:spPr>
          <a:xfrm>
            <a:off x="181986" y="3100583"/>
            <a:ext cx="4009431" cy="246221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Daly City/SFPUC NSMCSD Tertiary RWP 2.8 MGD (3 MGD Exp.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4D39698C-99AA-48EB-ABBE-2C41548386B0}"/>
              </a:ext>
            </a:extLst>
          </p:cNvPr>
          <p:cNvSpPr txBox="1"/>
          <p:nvPr/>
        </p:nvSpPr>
        <p:spPr>
          <a:xfrm>
            <a:off x="3841017" y="1498991"/>
            <a:ext cx="2466034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EBMUD Chevron NRWRF 4.0 MGD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139EBDFE-EBD7-4FCA-B891-2A10248CAC0B}"/>
              </a:ext>
            </a:extLst>
          </p:cNvPr>
          <p:cNvSpPr txBox="1"/>
          <p:nvPr/>
        </p:nvSpPr>
        <p:spPr>
          <a:xfrm>
            <a:off x="6575816" y="1563455"/>
            <a:ext cx="2018396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Delta Diablo WRF 12 MGD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1CC1BEB1-91C3-47D3-811F-61025A5994FC}"/>
              </a:ext>
            </a:extLst>
          </p:cNvPr>
          <p:cNvSpPr txBox="1"/>
          <p:nvPr/>
        </p:nvSpPr>
        <p:spPr>
          <a:xfrm>
            <a:off x="4937626" y="3749137"/>
            <a:ext cx="4179304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outh Bay Water Recycling - City of San Jose + SCVWD  20 MG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6814317E-7C88-422B-82C9-AC35D9C5E8AC}"/>
              </a:ext>
            </a:extLst>
          </p:cNvPr>
          <p:cNvSpPr txBox="1"/>
          <p:nvPr/>
        </p:nvSpPr>
        <p:spPr>
          <a:xfrm>
            <a:off x="6063250" y="4601419"/>
            <a:ext cx="2261892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CRWA  8 MGD (2.5 MGD Exp.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1FE744C3-7FAE-4A7A-B70C-CC4911B634DC}"/>
              </a:ext>
            </a:extLst>
          </p:cNvPr>
          <p:cNvSpPr txBox="1"/>
          <p:nvPr/>
        </p:nvSpPr>
        <p:spPr>
          <a:xfrm>
            <a:off x="2560320" y="4808070"/>
            <a:ext cx="2979818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unnyvale WPCP 11.9 MGD (1.3 MGD Reuse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A36E40B6-A603-4EEE-8864-394D2E13AF29}"/>
              </a:ext>
            </a:extLst>
          </p:cNvPr>
          <p:cNvSpPr txBox="1"/>
          <p:nvPr/>
        </p:nvSpPr>
        <p:spPr>
          <a:xfrm>
            <a:off x="3634566" y="40925"/>
            <a:ext cx="2878935" cy="246221"/>
          </a:xfrm>
          <a:prstGeom prst="rect">
            <a:avLst/>
          </a:prstGeom>
          <a:solidFill>
            <a:srgbClr val="FF0066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Geysers Water Reuse Reinjection 20 MGD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xmlns="" id="{D370E402-07B1-474C-AF17-85E9B1411804}"/>
              </a:ext>
            </a:extLst>
          </p:cNvPr>
          <p:cNvCxnSpPr>
            <a:cxnSpLocks/>
            <a:stCxn id="51" idx="3"/>
          </p:cNvCxnSpPr>
          <p:nvPr/>
        </p:nvCxnSpPr>
        <p:spPr>
          <a:xfrm>
            <a:off x="8594212" y="1686566"/>
            <a:ext cx="426851" cy="462957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2158E8AB-7D54-41F7-89F7-5AC2668136CC}"/>
              </a:ext>
            </a:extLst>
          </p:cNvPr>
          <p:cNvCxnSpPr/>
          <p:nvPr/>
        </p:nvCxnSpPr>
        <p:spPr>
          <a:xfrm>
            <a:off x="8787033" y="1686566"/>
            <a:ext cx="0" cy="1734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A3D68B30-B512-4574-B75B-6F40D35E0890}"/>
              </a:ext>
            </a:extLst>
          </p:cNvPr>
          <p:cNvSpPr txBox="1"/>
          <p:nvPr/>
        </p:nvSpPr>
        <p:spPr>
          <a:xfrm>
            <a:off x="5412786" y="4043260"/>
            <a:ext cx="1462580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SJ/SC WPCP 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3986B1E8-FEBA-4D09-BD5C-7E24FB713553}"/>
              </a:ext>
            </a:extLst>
          </p:cNvPr>
          <p:cNvSpPr txBox="1"/>
          <p:nvPr/>
        </p:nvSpPr>
        <p:spPr>
          <a:xfrm>
            <a:off x="2749857" y="4502402"/>
            <a:ext cx="1813317" cy="246221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Palo Alto RWQCP 3.0 MG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450B286C-367A-4ADA-85FE-4673FF1BF0DE}"/>
              </a:ext>
            </a:extLst>
          </p:cNvPr>
          <p:cNvSpPr txBox="1"/>
          <p:nvPr/>
        </p:nvSpPr>
        <p:spPr>
          <a:xfrm>
            <a:off x="6812782" y="3977604"/>
            <a:ext cx="3193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+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CDAF29FB-E6E1-460C-A458-648AC35B33A4}"/>
              </a:ext>
            </a:extLst>
          </p:cNvPr>
          <p:cNvSpPr txBox="1"/>
          <p:nvPr/>
        </p:nvSpPr>
        <p:spPr>
          <a:xfrm>
            <a:off x="6252714" y="4873933"/>
            <a:ext cx="2824199" cy="24622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Hollister MBR WRF 2.1 MGD (4 MGD Exp.) *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6F8A995-1320-42B6-A87A-9534F92A80B5}"/>
              </a:ext>
            </a:extLst>
          </p:cNvPr>
          <p:cNvSpPr txBox="1"/>
          <p:nvPr/>
        </p:nvSpPr>
        <p:spPr>
          <a:xfrm>
            <a:off x="0" y="4483529"/>
            <a:ext cx="280397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(Note: “*” denotes Suez technology applied)</a:t>
            </a:r>
          </a:p>
        </p:txBody>
      </p:sp>
    </p:spTree>
    <p:extLst>
      <p:ext uri="{BB962C8B-B14F-4D97-AF65-F5344CB8AC3E}">
        <p14:creationId xmlns:p14="http://schemas.microsoft.com/office/powerpoint/2010/main" val="397918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Pages de contenus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9_Pages de contenus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Content_Layout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Content_Layout">
  <a:themeElements>
    <a:clrScheme name="SUEZ">
      <a:dk1>
        <a:srgbClr val="000000"/>
      </a:dk1>
      <a:lt1>
        <a:srgbClr val="FFFFFF"/>
      </a:lt1>
      <a:dk2>
        <a:srgbClr val="767C97"/>
      </a:dk2>
      <a:lt2>
        <a:srgbClr val="D5D6DE"/>
      </a:lt2>
      <a:accent1>
        <a:srgbClr val="3D466C"/>
      </a:accent1>
      <a:accent2>
        <a:srgbClr val="C4DE51"/>
      </a:accent2>
      <a:accent3>
        <a:srgbClr val="ABAFBF"/>
      </a:accent3>
      <a:accent4>
        <a:srgbClr val="E0E7C7"/>
      </a:accent4>
      <a:accent5>
        <a:srgbClr val="030F40"/>
      </a:accent5>
      <a:accent6>
        <a:srgbClr val="AADC14"/>
      </a:accent6>
      <a:hlink>
        <a:srgbClr val="030F40"/>
      </a:hlink>
      <a:folHlink>
        <a:srgbClr val="030F4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uverture - Tex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uverture - Tex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uverture - Tex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itre et contenu 1">
        <a:dk1>
          <a:srgbClr val="000000"/>
        </a:dk1>
        <a:lt1>
          <a:srgbClr val="FFFFFF"/>
        </a:lt1>
        <a:dk2>
          <a:srgbClr val="BADB2A"/>
        </a:dk2>
        <a:lt2>
          <a:srgbClr val="030F40"/>
        </a:lt2>
        <a:accent1>
          <a:srgbClr val="030F40"/>
        </a:accent1>
        <a:accent2>
          <a:srgbClr val="C4DE51"/>
        </a:accent2>
        <a:accent3>
          <a:srgbClr val="FFFFFF"/>
        </a:accent3>
        <a:accent4>
          <a:srgbClr val="000000"/>
        </a:accent4>
        <a:accent5>
          <a:srgbClr val="AAAAAF"/>
        </a:accent5>
        <a:accent6>
          <a:srgbClr val="B1C949"/>
        </a:accent6>
        <a:hlink>
          <a:srgbClr val="ABAFBF"/>
        </a:hlink>
        <a:folHlink>
          <a:srgbClr val="E0E7C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496E84169DD145A43EEBC6292BA05B" ma:contentTypeVersion="8" ma:contentTypeDescription="Crée un document." ma:contentTypeScope="" ma:versionID="866f2ce441d7226d75ca61cd22a648af">
  <xsd:schema xmlns:xsd="http://www.w3.org/2001/XMLSchema" xmlns:xs="http://www.w3.org/2001/XMLSchema" xmlns:p="http://schemas.microsoft.com/office/2006/metadata/properties" xmlns:ns2="4070002c-f61f-4107-aa3e-186fe80431bf" xmlns:ns3="a6335889-1aec-4239-86dc-6d8c1e406a0b" targetNamespace="http://schemas.microsoft.com/office/2006/metadata/properties" ma:root="true" ma:fieldsID="86f4413267f7043bbad903a672e43de8" ns2:_="" ns3:_="">
    <xsd:import namespace="4070002c-f61f-4107-aa3e-186fe80431bf"/>
    <xsd:import namespace="a6335889-1aec-4239-86dc-6d8c1e406a0b"/>
    <xsd:element name="properties">
      <xsd:complexType>
        <xsd:sequence>
          <xsd:element name="documentManagement">
            <xsd:complexType>
              <xsd:all>
                <xsd:element ref="ns2:Files_x0020_structure" minOccurs="0"/>
                <xsd:element ref="ns2:Welcome_x0020_Pack" minOccurs="0"/>
                <xsd:element ref="ns3:SharedWithUsers" minOccurs="0"/>
                <xsd:element ref="ns3:SharedWithDetail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70002c-f61f-4107-aa3e-186fe80431bf" elementFormDefault="qualified">
    <xsd:import namespace="http://schemas.microsoft.com/office/2006/documentManagement/types"/>
    <xsd:import namespace="http://schemas.microsoft.com/office/infopath/2007/PartnerControls"/>
    <xsd:element name="Files_x0020_structure" ma:index="8" nillable="true" ma:displayName="Files structure" ma:format="Dropdown" ma:internalName="Files_x0020_structure">
      <xsd:simpleType>
        <xsd:restriction base="dms:Choice">
          <xsd:enumeration value="Project Management"/>
          <xsd:enumeration value="Content &amp; Narrative"/>
          <xsd:enumeration value="Branding"/>
          <xsd:enumeration value="Website"/>
          <xsd:enumeration value="Internal HUB &amp; Intranet"/>
          <xsd:enumeration value="Employees Communication"/>
          <xsd:enumeration value="Films &amp; Videos"/>
          <xsd:enumeration value="Media"/>
          <xsd:enumeration value="Customer &amp; Suppliers Communications"/>
        </xsd:restriction>
      </xsd:simpleType>
    </xsd:element>
    <xsd:element name="Welcome_x0020_Pack" ma:index="9" nillable="true" ma:displayName="Welcome Pack" ma:format="Dropdown" ma:internalName="Welcome_x0020_Pack">
      <xsd:simpleType>
        <xsd:restriction base="dms:Choice">
          <xsd:enumeration value="Strategy"/>
          <xsd:enumeration value="Industry"/>
          <xsd:enumeration value="Others"/>
          <xsd:enumeration value="Welcome Pack"/>
          <xsd:enumeration value="Welcome Guide"/>
          <xsd:enumeration value="Coffee table book"/>
          <xsd:enumeration value="Internal events &amp; exhibitions"/>
          <xsd:enumeration value="Interview &amp; piece to camera"/>
          <xsd:enumeration value="Motion design"/>
          <xsd:enumeration value="Launch film"/>
          <xsd:enumeration value="Culture exchange"/>
          <xsd:enumeration value="Infographics"/>
          <xsd:enumeration value="360 virtual tour"/>
          <xsd:enumeration value="Visuals"/>
        </xsd:restriction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335889-1aec-4239-86dc-6d8c1e406a0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elcome_x0020_Pack xmlns="4070002c-f61f-4107-aa3e-186fe80431bf">Industry</Welcome_x0020_Pack>
    <Files_x0020_structure xmlns="4070002c-f61f-4107-aa3e-186fe80431bf">Content &amp; Narrative</Files_x0020_structure>
  </documentManagement>
</p:properties>
</file>

<file path=customXml/itemProps1.xml><?xml version="1.0" encoding="utf-8"?>
<ds:datastoreItem xmlns:ds="http://schemas.openxmlformats.org/officeDocument/2006/customXml" ds:itemID="{5E2A1B8F-0B0C-4587-B931-AD83F452D4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70002c-f61f-4107-aa3e-186fe80431bf"/>
    <ds:schemaRef ds:uri="a6335889-1aec-4239-86dc-6d8c1e406a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3DE202A-930E-4A97-90B2-EAEAA4A274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B1DDDE-00F3-4C1C-B889-A3B7D089B4D5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  <ds:schemaRef ds:uri="a6335889-1aec-4239-86dc-6d8c1e406a0b"/>
    <ds:schemaRef ds:uri="4070002c-f61f-4107-aa3e-186fe80431bf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2</TotalTime>
  <Words>405</Words>
  <Application>Microsoft Macintosh PowerPoint</Application>
  <PresentationFormat>On-screen Show (16:9)</PresentationFormat>
  <Paragraphs>88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8_Pages de contenus</vt:lpstr>
      <vt:lpstr>9_Pages de contenus</vt:lpstr>
      <vt:lpstr>2_Content_Layout</vt:lpstr>
      <vt:lpstr>3_Content_Layout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EZ’s offering for   Water Technologies &amp; Solutions</dc:title>
  <cp:lastModifiedBy>Cynthia Clark</cp:lastModifiedBy>
  <cp:revision>48</cp:revision>
  <dcterms:modified xsi:type="dcterms:W3CDTF">2017-12-01T17:5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496E84169DD145A43EEBC6292BA05B</vt:lpwstr>
  </property>
</Properties>
</file>